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emf" ContentType="image/x-emf"/>
  <Default Extension="vml" ContentType="application/vnd.openxmlformats-officedocument.vmlDrawing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03.xml" ContentType="application/vnd.openxmlformats-officedocument.presentationml.slide+xml"/>
  <Override PartName="/ppt/tags/tag972.xml" ContentType="application/vnd.openxmlformats-officedocument.presentationml.tags+xml"/>
  <Override PartName="/ppt/tags/tag967.xml" ContentType="application/vnd.openxmlformats-officedocument.presentationml.tags+xml"/>
  <Override PartName="/ppt/tags/tag988.xml" ContentType="application/vnd.openxmlformats-officedocument.presentationml.tags+xml"/>
  <Override PartName="/ppt/tags/tag993.xml" ContentType="application/vnd.openxmlformats-officedocument.presentationml.tags+xml"/>
  <Override PartName="/ppt/tags/tag1009.xml" ContentType="application/vnd.openxmlformats-officedocument.presentationml.tags+xml"/>
  <Override PartName="/ppt/tags/tag1014.xml" ContentType="application/vnd.openxmlformats-officedocument.presentationml.tags+xml"/>
  <Override PartName="/ppt/tags/tag1030.xml" ContentType="application/vnd.openxmlformats-officedocument.presentationml.tags+xml"/>
  <Override PartName="/ppt/tags/tag1035.xml" ContentType="application/vnd.openxmlformats-officedocument.presentationml.tags+xml"/>
  <Override PartName="/ppt/tags/tag1058.xml" ContentType="application/vnd.openxmlformats-officedocument.presentationml.tags+xml"/>
  <Override PartName="/ppt/tags/tag962.xml" ContentType="application/vnd.openxmlformats-officedocument.presentationml.tags+xml"/>
  <Override PartName="/ppt/tags/tag1053.xml" ContentType="application/vnd.openxmlformats-officedocument.presentationml.tags+xml"/>
  <Override PartName="/ppt/tags/tag957.xml" ContentType="application/vnd.openxmlformats-officedocument.presentationml.tags+xml"/>
  <Override PartName="/ppt/tags/tag978.xml" ContentType="application/vnd.openxmlformats-officedocument.presentationml.tags+xml"/>
  <Override PartName="/ppt/tags/tag983.xml" ContentType="application/vnd.openxmlformats-officedocument.presentationml.tags+xml"/>
  <Override PartName="/ppt/tags/tag999.xml" ContentType="application/vnd.openxmlformats-officedocument.presentationml.tags+xml"/>
  <Override PartName="/ppt/tags/tag1004.xml" ContentType="application/vnd.openxmlformats-officedocument.presentationml.tags+xml"/>
  <Override PartName="/ppt/tags/tag1020.xml" ContentType="application/vnd.openxmlformats-officedocument.presentationml.tags+xml"/>
  <Override PartName="/ppt/tags/tag1025.xml" ContentType="application/vnd.openxmlformats-officedocument.presentationml.tags+xml"/>
  <Override PartName="/ppt/tags/tag1048.xml" ContentType="application/vnd.openxmlformats-officedocument.presentationml.tags+xml"/>
  <Override PartName="/ppt/tags/tag951.xml" ContentType="application/vnd.openxmlformats-officedocument.presentationml.tags+xml"/>
  <Override PartName="/ppt/tags/tag1036.xml" ContentType="application/vnd.openxmlformats-officedocument.presentationml.tags+xml"/>
  <Override PartName="/ppt/tags/tag1041.xml" ContentType="application/vnd.openxmlformats-officedocument.presentationml.tags+xml"/>
  <Override PartName="/ppt/tags/tag968.xml" ContentType="application/vnd.openxmlformats-officedocument.presentationml.tags+xml"/>
  <Override PartName="/ppt/tags/tag973.xml" ContentType="application/vnd.openxmlformats-officedocument.presentationml.tags+xml"/>
  <Override PartName="/ppt/tags/tag989.xml" ContentType="application/vnd.openxmlformats-officedocument.presentationml.tags+xml"/>
  <Override PartName="/ppt/tags/tag994.xml" ContentType="application/vnd.openxmlformats-officedocument.presentationml.tags+xml"/>
  <Override PartName="/ppt/tags/tag1010.xml" ContentType="application/vnd.openxmlformats-officedocument.presentationml.tags+xml"/>
  <Override PartName="/ppt/tags/tag1015.xml" ContentType="application/vnd.openxmlformats-officedocument.presentationml.tags+xml"/>
  <Override PartName="/ppt/tags/tag1059.xml" ContentType="application/vnd.openxmlformats-officedocument.presentationml.tags+xml"/>
  <Override PartName="/ppt/tags/tag1026.xml" ContentType="application/vnd.openxmlformats-officedocument.presentationml.tags+xml"/>
  <Override PartName="/ppt/tags/tag1031.xml" ContentType="application/vnd.openxmlformats-officedocument.presentationml.tags+xml"/>
  <Override PartName="/ppt/tags/tag958.xml" ContentType="application/vnd.openxmlformats-officedocument.presentationml.tags+xml"/>
  <Override PartName="/ppt/tags/tag963.xml" ContentType="application/vnd.openxmlformats-officedocument.presentationml.tags+xml"/>
  <Override PartName="/ppt/tags/tag979.xml" ContentType="application/vnd.openxmlformats-officedocument.presentationml.tags+xml"/>
  <Override PartName="/ppt/tags/tag984.xml" ContentType="application/vnd.openxmlformats-officedocument.presentationml.tags+xml"/>
  <Override PartName="/ppt/tags/tag1005.xml" ContentType="application/vnd.openxmlformats-officedocument.presentationml.tags+xml"/>
  <Override PartName="/ppt/tags/tag1049.xml" ContentType="application/vnd.openxmlformats-officedocument.presentationml.tags+xml"/>
  <Override PartName="/ppt/tags/tag1054.xml" ContentType="application/vnd.openxmlformats-officedocument.presentationml.tags+xml"/>
  <Override PartName="/ppt/tags/tag1000.xml" ContentType="application/vnd.openxmlformats-officedocument.presentationml.tags+xml"/>
  <Override PartName="/ppt/tags/tag1016.xml" ContentType="application/vnd.openxmlformats-officedocument.presentationml.tags+xml"/>
  <Override PartName="/ppt/tags/tag1021.xml" ContentType="application/vnd.openxmlformats-officedocument.presentationml.tags+xml"/>
  <Override PartName="/ppt/tags/tag1037.xml" ContentType="application/vnd.openxmlformats-officedocument.presentationml.tags+xml"/>
  <Override PartName="/ppt/tags/tag1042.xml" ContentType="application/vnd.openxmlformats-officedocument.presentationml.tags+xml"/>
  <Override PartName="/ppt/tags/tag952.xml" ContentType="application/vnd.openxmlformats-officedocument.presentationml.tags+xml"/>
  <Override PartName="/ppt/tags/tag969.xml" ContentType="application/vnd.openxmlformats-officedocument.presentationml.tags+xml"/>
  <Override PartName="/ppt/tags/tag974.xml" ContentType="application/vnd.openxmlformats-officedocument.presentationml.tags+xml"/>
  <Override PartName="/ppt/tags/tag995.xml" ContentType="application/vnd.openxmlformats-officedocument.presentationml.tags+xml"/>
  <Override PartName="/ppt/tags/tag1060.xml" ContentType="application/vnd.openxmlformats-officedocument.presentationml.tags+xml"/>
  <Override PartName="/ppt/charts/chart32.xml" ContentType="application/vnd.openxmlformats-officedocument.drawingml.chart+xml"/>
  <Override PartName="/ppt/tags/tag990.xml" ContentType="application/vnd.openxmlformats-officedocument.presentationml.tags+xml"/>
  <Override PartName="/ppt/tags/tag1006.xml" ContentType="application/vnd.openxmlformats-officedocument.presentationml.tags+xml"/>
  <Override PartName="/ppt/tags/tag1011.xml" ContentType="application/vnd.openxmlformats-officedocument.presentationml.tags+xml"/>
  <Override PartName="/ppt/tags/tag1027.xml" ContentType="application/vnd.openxmlformats-officedocument.presentationml.tags+xml"/>
  <Override PartName="/ppt/tags/tag1032.xml" ContentType="application/vnd.openxmlformats-officedocument.presentationml.tags+xml"/>
  <Override PartName="/ppt/tags/tag950.xml" ContentType="application/vnd.openxmlformats-officedocument.presentationml.tags+xml"/>
  <Override PartName="/ppt/tags/tag955.xml" ContentType="application/vnd.openxmlformats-officedocument.presentationml.tags+xml"/>
  <Override PartName="/ppt/tags/tag959.xml" ContentType="application/vnd.openxmlformats-officedocument.presentationml.tags+xml"/>
  <Override PartName="/ppt/tags/tag964.xml" ContentType="application/vnd.openxmlformats-officedocument.presentationml.tags+xml"/>
  <Override PartName="/ppt/tags/tag985.xml" ContentType="application/vnd.openxmlformats-officedocument.presentationml.tags+xml"/>
  <Override PartName="/ppt/tags/tag1055.xml" ContentType="application/vnd.openxmlformats-officedocument.presentationml.tags+xml"/>
  <Override PartName="/ppt/tags/tag980.xml" ContentType="application/vnd.openxmlformats-officedocument.presentationml.tags+xml"/>
  <Override PartName="/ppt/tags/tag996.xml" ContentType="application/vnd.openxmlformats-officedocument.presentationml.tags+xml"/>
  <Override PartName="/ppt/tags/tag1001.xml" ContentType="application/vnd.openxmlformats-officedocument.presentationml.tags+xml"/>
  <Override PartName="/ppt/tags/tag1022.xml" ContentType="application/vnd.openxmlformats-officedocument.presentationml.tags+xml"/>
  <Override PartName="/ppt/tags/tag1043.xml" ContentType="application/vnd.openxmlformats-officedocument.presentationml.tags+xml"/>
  <Override PartName="/ppt/tags/tag1050.xml" ContentType="application/vnd.openxmlformats-officedocument.presentationml.tags+xml"/>
  <Override PartName="/ppt/charts/chart33.xml" ContentType="application/vnd.openxmlformats-officedocument.drawingml.chart+xml"/>
  <Override PartName="/ppt/tags/tag953.xml" ContentType="application/vnd.openxmlformats-officedocument.presentationml.tags+xml"/>
  <Override PartName="/ppt/tags/tag1017.xml" ContentType="application/vnd.openxmlformats-officedocument.presentationml.tags+xml"/>
  <Override PartName="/ppt/tags/tag1038.xml" ContentType="application/vnd.openxmlformats-officedocument.presentationml.tags+xml"/>
  <Override PartName="/ppt/tags/tag948.xml" ContentType="application/vnd.openxmlformats-officedocument.presentationml.tags+xml"/>
  <Override PartName="/ppt/tags/tag975.xml" ContentType="application/vnd.openxmlformats-officedocument.presentationml.tags+xml"/>
  <Override PartName="/ppt/tags/tag970.xml" ContentType="application/vnd.openxmlformats-officedocument.presentationml.tags+xml"/>
  <Override PartName="/ppt/tags/tag986.xml" ContentType="application/vnd.openxmlformats-officedocument.presentationml.tags+xml"/>
  <Override PartName="/ppt/tags/tag991.xml" ContentType="application/vnd.openxmlformats-officedocument.presentationml.tags+xml"/>
  <Override PartName="/ppt/tags/tag1012.xml" ContentType="application/vnd.openxmlformats-officedocument.presentationml.tags+xml"/>
  <Override PartName="/ppt/tags/tag1033.xml" ContentType="application/vnd.openxmlformats-officedocument.presentationml.tags+xml"/>
  <Override PartName="/ppt/tags/tag105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007.xml" ContentType="application/vnd.openxmlformats-officedocument.presentationml.tags+xml"/>
  <Override PartName="/ppt/tags/tag1028.xml" ContentType="application/vnd.openxmlformats-officedocument.presentationml.tags+xml"/>
  <Override PartName="/ppt/tags/tag965.xml" ContentType="application/vnd.openxmlformats-officedocument.presentationml.tags+xml"/>
  <Override PartName="/ppt/tags/tag960.xml" ContentType="application/vnd.openxmlformats-officedocument.presentationml.tags+xml"/>
  <Override PartName="/ppt/tags/tag976.xml" ContentType="application/vnd.openxmlformats-officedocument.presentationml.tags+xml"/>
  <Override PartName="/ppt/tags/tag981.xml" ContentType="application/vnd.openxmlformats-officedocument.presentationml.tags+xml"/>
  <Override PartName="/ppt/tags/tag1002.xml" ContentType="application/vnd.openxmlformats-officedocument.presentationml.tags+xml"/>
  <Override PartName="/ppt/tags/tag1023.xml" ContentType="application/vnd.openxmlformats-officedocument.presentationml.tags+xml"/>
  <Override PartName="/ppt/tags/tag1046.xml" ContentType="application/vnd.openxmlformats-officedocument.presentationml.tags+xml"/>
  <Override PartName="/ppt/tags/tag1051.xml" ContentType="application/vnd.openxmlformats-officedocument.presentationml.tags+xml"/>
  <Override PartName="/ppt/tags/tag954.xml" ContentType="application/vnd.openxmlformats-officedocument.presentationml.tags+xml"/>
  <Override PartName="/ppt/tags/tag997.xml" ContentType="application/vnd.openxmlformats-officedocument.presentationml.tags+xml"/>
  <Override PartName="/ppt/tags/tag1018.xml" ContentType="application/vnd.openxmlformats-officedocument.presentationml.tags+xml"/>
  <Override PartName="/ppt/tags/tag1039.xml" ContentType="application/vnd.openxmlformats-officedocument.presentationml.tags+xml"/>
  <Override PartName="/ppt/tags/tag1044.xml" ContentType="application/vnd.openxmlformats-officedocument.presentationml.tags+xml"/>
  <Override PartName="/ppt/charts/chart34.xml" ContentType="application/vnd.openxmlformats-officedocument.drawingml.chart+xml"/>
  <Override PartName="/ppt/tags/tag949.xml" ContentType="application/vnd.openxmlformats-officedocument.presentationml.tags+xml"/>
  <Override PartName="/ppt/tags/tag971.xml" ContentType="application/vnd.openxmlformats-officedocument.presentationml.tags+xml"/>
  <Override PartName="/ppt/tags/tag992.xml" ContentType="application/vnd.openxmlformats-officedocument.presentationml.tags+xml"/>
  <Override PartName="/ppt/tags/tag1013.xml" ContentType="application/vnd.openxmlformats-officedocument.presentationml.tags+xml"/>
  <Override PartName="/ppt/notesSlides/notesSlide20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966.xml" ContentType="application/vnd.openxmlformats-officedocument.presentationml.tags+xml"/>
  <Override PartName="/ppt/tags/tag987.xml" ContentType="application/vnd.openxmlformats-officedocument.presentationml.tags+xml"/>
  <Override PartName="/ppt/tags/tag1008.xml" ContentType="application/vnd.openxmlformats-officedocument.presentationml.tags+xml"/>
  <Override PartName="/ppt/tags/tag1029.xml" ContentType="application/vnd.openxmlformats-officedocument.presentationml.tags+xml"/>
  <Override PartName="/ppt/tags/tag1034.xml" ContentType="application/vnd.openxmlformats-officedocument.presentationml.tags+xml"/>
  <Override PartName="/ppt/tags/tag1057.xml" ContentType="application/vnd.openxmlformats-officedocument.presentationml.tags+xml"/>
  <Override PartName="/ppt/tags/tag961.xml" ContentType="application/vnd.openxmlformats-officedocument.presentationml.tags+xml"/>
  <Override PartName="/ppt/tags/tag982.xml" ContentType="application/vnd.openxmlformats-officedocument.presentationml.tags+xml"/>
  <Override PartName="/ppt/tags/tag1003.xml" ContentType="application/vnd.openxmlformats-officedocument.presentationml.tags+xml"/>
  <Override PartName="/ppt/tags/tag1052.xml" ContentType="application/vnd.openxmlformats-officedocument.presentationml.tags+xml"/>
  <Override PartName="/ppt/tags/tag956.xml" ContentType="application/vnd.openxmlformats-officedocument.presentationml.tags+xml"/>
  <Override PartName="/ppt/tags/tag977.xml" ContentType="application/vnd.openxmlformats-officedocument.presentationml.tags+xml"/>
  <Override PartName="/ppt/tags/tag998.xml" ContentType="application/vnd.openxmlformats-officedocument.presentationml.tags+xml"/>
  <Override PartName="/ppt/tags/tag1019.xml" ContentType="application/vnd.openxmlformats-officedocument.presentationml.tags+xml"/>
  <Override PartName="/ppt/tags/tag1024.xml" ContentType="application/vnd.openxmlformats-officedocument.presentationml.tags+xml"/>
  <Override PartName="/ppt/tags/tag1040.xml" ContentType="application/vnd.openxmlformats-officedocument.presentationml.tags+xml"/>
  <Override PartName="/ppt/tags/tag1045.xml" ContentType="application/vnd.openxmlformats-officedocument.presentationml.tags+xml"/>
  <Override PartName="/ppt/tags/tag1047.xml" ContentType="application/vnd.openxmlformats-officedocument.presentationml.tags+xml"/>
  <Override PartName="/ppt/charts/chart35.xml" ContentType="application/vnd.openxmlformats-officedocument.drawingml.chart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05" r:id="rId20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03.xml" Id="rId206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3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1.xlsb" Id="rId1" /></Relationships>
</file>

<file path=ppt/charts/_rels/chart3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2.xlsb" Id="rId1" /></Relationships>
</file>

<file path=ppt/charts/_rels/chart3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3.xlsb" Id="rId1" /></Relationships>
</file>

<file path=ppt/charts/_rels/chart3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4.xlsb" Id="rId1" /></Relationships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31714495952908E-2"/>
          <c:y val="5.7713651498335183E-2"/>
          <c:w val="0.96173657100809418"/>
          <c:h val="0.884572697003329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6C8-4C4C-8176-4C39BA1379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6C8-4C4C-8176-4C39BA137922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36332515</c:v>
                </c:pt>
                <c:pt idx="1">
                  <c:v>35331631</c:v>
                </c:pt>
                <c:pt idx="2">
                  <c:v>35196929</c:v>
                </c:pt>
                <c:pt idx="3">
                  <c:v>38323916</c:v>
                </c:pt>
                <c:pt idx="4">
                  <c:v>52872868</c:v>
                </c:pt>
                <c:pt idx="5">
                  <c:v>67453171</c:v>
                </c:pt>
                <c:pt idx="6">
                  <c:v>91944329</c:v>
                </c:pt>
                <c:pt idx="7">
                  <c:v>252452562</c:v>
                </c:pt>
                <c:pt idx="8">
                  <c:v>2827468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C8-4C4C-8176-4C39BA137922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29376468</c:v>
                </c:pt>
                <c:pt idx="1">
                  <c:v>35359696</c:v>
                </c:pt>
                <c:pt idx="2">
                  <c:v>39087787</c:v>
                </c:pt>
                <c:pt idx="3">
                  <c:v>48558253</c:v>
                </c:pt>
                <c:pt idx="4">
                  <c:v>68881232</c:v>
                </c:pt>
                <c:pt idx="5">
                  <c:v>94479591</c:v>
                </c:pt>
                <c:pt idx="6">
                  <c:v>118432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C8-4C4C-8176-4C39BA137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3210816"/>
        <c:axId val="1"/>
      </c:barChart>
      <c:catAx>
        <c:axId val="333210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33210816"/>
        <c:crosses val="min"/>
        <c:crossBetween val="between"/>
        <c:majorUnit val="1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66335321404904"/>
          <c:y val="9.8690835850956699E-2"/>
          <c:w val="0.86613651424784621"/>
          <c:h val="0.802618328298086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89C-46DD-A5B6-F4DD6267BF5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89C-46DD-A5B6-F4DD6267BF56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55.293071572877636</c:v>
                </c:pt>
                <c:pt idx="1">
                  <c:v>49.980149615807896</c:v>
                </c:pt>
                <c:pt idx="2">
                  <c:v>47.381118075486754</c:v>
                </c:pt>
                <c:pt idx="3">
                  <c:v>44.110220130438961</c:v>
                </c:pt>
                <c:pt idx="4">
                  <c:v>43.425944588313655</c:v>
                </c:pt>
                <c:pt idx="5">
                  <c:v>41.655048778825865</c:v>
                </c:pt>
                <c:pt idx="6">
                  <c:v>43.704525684314504</c:v>
                </c:pt>
                <c:pt idx="7">
                  <c:v>99.999999999999986</c:v>
                </c:pt>
                <c:pt idx="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9C-46DD-A5B6-F4DD6267BF56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44.706928427122364</c:v>
                </c:pt>
                <c:pt idx="1">
                  <c:v>50.019850384192097</c:v>
                </c:pt>
                <c:pt idx="2">
                  <c:v>52.618881924513246</c:v>
                </c:pt>
                <c:pt idx="3">
                  <c:v>55.889779869561032</c:v>
                </c:pt>
                <c:pt idx="4">
                  <c:v>56.574055411686345</c:v>
                </c:pt>
                <c:pt idx="5">
                  <c:v>58.344951221174135</c:v>
                </c:pt>
                <c:pt idx="6">
                  <c:v>56.295474315685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89C-46DD-A5B6-F4DD6267B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33276416"/>
        <c:axId val="1"/>
      </c:barChart>
      <c:catAx>
        <c:axId val="333276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33276416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31714495952908E-2"/>
          <c:y val="5.7713651498335183E-2"/>
          <c:w val="0.96173657100809418"/>
          <c:h val="0.8845726970033296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7E3-4571-A0E3-AF13CC943C7A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600</c:v>
                </c:pt>
                <c:pt idx="1">
                  <c:v>13630</c:v>
                </c:pt>
                <c:pt idx="2">
                  <c:v>12202</c:v>
                </c:pt>
                <c:pt idx="3">
                  <c:v>15200</c:v>
                </c:pt>
                <c:pt idx="5">
                  <c:v>8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E3-4571-A0E3-AF13CC943C7A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7E3-4571-A0E3-AF13CC943C7A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3450</c:v>
                </c:pt>
                <c:pt idx="1">
                  <c:v>14450</c:v>
                </c:pt>
                <c:pt idx="2">
                  <c:v>17300</c:v>
                </c:pt>
                <c:pt idx="3">
                  <c:v>26450</c:v>
                </c:pt>
                <c:pt idx="5">
                  <c:v>13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E3-4571-A0E3-AF13CC943C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33378016"/>
        <c:axId val="1"/>
      </c:barChart>
      <c:catAx>
        <c:axId val="333378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3378016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66666666666667"/>
          <c:y val="9.8690835850956699E-2"/>
          <c:w val="0.80233333333333334"/>
          <c:h val="0.802618328298086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7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7A-4751-8A1B-84C1332EA4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3429216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B7A-4751-8A1B-84C1332EA479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B7A-4751-8A1B-84C1332EA479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B7A-4751-8A1B-84C1332EA479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B7A-4751-8A1B-84C1332EA479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B7A-4751-8A1B-84C1332EA479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B7A-4751-8A1B-84C1332EA479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B7A-4751-8A1B-84C1332EA479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49.984999999999999</c:v>
                </c:pt>
                <c:pt idx="7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B7A-4751-8A1B-84C1332EA4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33429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3429216"/>
        <c:crosses val="min"/>
        <c:crossBetween val="between"/>
        <c:majorUnit val="2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3.xml.rels>&#65279;<?xml version="1.0" encoding="utf-8"?><Relationships xmlns="http://schemas.openxmlformats.org/package/2006/relationships"><Relationship Type="http://schemas.openxmlformats.org/officeDocument/2006/relationships/slide" Target="/ppt/slides/slide203.xml" Id="rId2" /><Relationship Type="http://schemas.openxmlformats.org/officeDocument/2006/relationships/notesMaster" Target="/ppt/notesMasters/notesMaster1.xml" Id="rId1" /></Relationships>
</file>

<file path=ppt/notesSlides/notesSlide2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68296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3.xml.rels>&#65279;<?xml version="1.0" encoding="utf-8"?><Relationships xmlns="http://schemas.openxmlformats.org/package/2006/relationships"><Relationship Type="http://schemas.openxmlformats.org/officeDocument/2006/relationships/tags" Target="/ppt/tags/tag972.xml" Id="rId26" /><Relationship Type="http://schemas.openxmlformats.org/officeDocument/2006/relationships/oleObject" Target="/ppt/embeddings/oleObject207.bin" Id="rId117" /><Relationship Type="http://schemas.openxmlformats.org/officeDocument/2006/relationships/tags" Target="/ppt/tags/tag967.xml" Id="rId21" /><Relationship Type="http://schemas.openxmlformats.org/officeDocument/2006/relationships/tags" Target="/ppt/tags/tag988.xml" Id="rId42" /><Relationship Type="http://schemas.openxmlformats.org/officeDocument/2006/relationships/tags" Target="/ppt/tags/tag993.xml" Id="rId47" /><Relationship Type="http://schemas.openxmlformats.org/officeDocument/2006/relationships/tags" Target="/ppt/tags/tag1009.xml" Id="rId63" /><Relationship Type="http://schemas.openxmlformats.org/officeDocument/2006/relationships/tags" Target="/ppt/tags/tag1014.xml" Id="rId68" /><Relationship Type="http://schemas.openxmlformats.org/officeDocument/2006/relationships/tags" Target="/ppt/tags/tag1030.xml" Id="rId84" /><Relationship Type="http://schemas.openxmlformats.org/officeDocument/2006/relationships/tags" Target="/ppt/tags/tag1035.xml" Id="rId89" /><Relationship Type="http://schemas.openxmlformats.org/officeDocument/2006/relationships/tags" Target="/ppt/tags/tag1058.xml" Id="rId112" /><Relationship Type="http://schemas.openxmlformats.org/officeDocument/2006/relationships/tags" Target="/ppt/tags/tag962.xml" Id="rId16" /><Relationship Type="http://schemas.openxmlformats.org/officeDocument/2006/relationships/tags" Target="/ppt/tags/tag1053.xml" Id="rId107" /><Relationship Type="http://schemas.openxmlformats.org/officeDocument/2006/relationships/tags" Target="/ppt/tags/tag957.xml" Id="rId11" /><Relationship Type="http://schemas.openxmlformats.org/officeDocument/2006/relationships/tags" Target="/ppt/tags/tag978.xml" Id="rId32" /><Relationship Type="http://schemas.openxmlformats.org/officeDocument/2006/relationships/tags" Target="/ppt/tags/tag983.xml" Id="rId37" /><Relationship Type="http://schemas.openxmlformats.org/officeDocument/2006/relationships/tags" Target="/ppt/tags/tag999.xml" Id="rId53" /><Relationship Type="http://schemas.openxmlformats.org/officeDocument/2006/relationships/tags" Target="/ppt/tags/tag1004.xml" Id="rId58" /><Relationship Type="http://schemas.openxmlformats.org/officeDocument/2006/relationships/tags" Target="/ppt/tags/tag1020.xml" Id="rId74" /><Relationship Type="http://schemas.openxmlformats.org/officeDocument/2006/relationships/tags" Target="/ppt/tags/tag1025.xml" Id="rId79" /><Relationship Type="http://schemas.openxmlformats.org/officeDocument/2006/relationships/tags" Target="/ppt/tags/tag1048.xml" Id="rId102" /><Relationship Type="http://schemas.openxmlformats.org/officeDocument/2006/relationships/tags" Target="/ppt/tags/tag951.xml" Id="rId5" /><Relationship Type="http://schemas.openxmlformats.org/officeDocument/2006/relationships/tags" Target="/ppt/tags/tag1036.xml" Id="rId90" /><Relationship Type="http://schemas.openxmlformats.org/officeDocument/2006/relationships/tags" Target="/ppt/tags/tag1041.xml" Id="rId95" /><Relationship Type="http://schemas.openxmlformats.org/officeDocument/2006/relationships/tags" Target="/ppt/tags/tag968.xml" Id="rId22" /><Relationship Type="http://schemas.openxmlformats.org/officeDocument/2006/relationships/tags" Target="/ppt/tags/tag973.xml" Id="rId27" /><Relationship Type="http://schemas.openxmlformats.org/officeDocument/2006/relationships/tags" Target="/ppt/tags/tag989.xml" Id="rId43" /><Relationship Type="http://schemas.openxmlformats.org/officeDocument/2006/relationships/tags" Target="/ppt/tags/tag994.xml" Id="rId48" /><Relationship Type="http://schemas.openxmlformats.org/officeDocument/2006/relationships/tags" Target="/ppt/tags/tag1010.xml" Id="rId64" /><Relationship Type="http://schemas.openxmlformats.org/officeDocument/2006/relationships/tags" Target="/ppt/tags/tag1015.xml" Id="rId69" /><Relationship Type="http://schemas.openxmlformats.org/officeDocument/2006/relationships/tags" Target="/ppt/tags/tag1059.xml" Id="rId113" /><Relationship Type="http://schemas.openxmlformats.org/officeDocument/2006/relationships/image" Target="/ppt/media/image4.emf" Id="rId118" /><Relationship Type="http://schemas.openxmlformats.org/officeDocument/2006/relationships/tags" Target="/ppt/tags/tag1026.xml" Id="rId80" /><Relationship Type="http://schemas.openxmlformats.org/officeDocument/2006/relationships/tags" Target="/ppt/tags/tag1031.xml" Id="rId85" /><Relationship Type="http://schemas.openxmlformats.org/officeDocument/2006/relationships/tags" Target="/ppt/tags/tag958.xml" Id="rId12" /><Relationship Type="http://schemas.openxmlformats.org/officeDocument/2006/relationships/tags" Target="/ppt/tags/tag963.xml" Id="rId17" /><Relationship Type="http://schemas.openxmlformats.org/officeDocument/2006/relationships/tags" Target="/ppt/tags/tag979.xml" Id="rId33" /><Relationship Type="http://schemas.openxmlformats.org/officeDocument/2006/relationships/tags" Target="/ppt/tags/tag984.xml" Id="rId38" /><Relationship Type="http://schemas.openxmlformats.org/officeDocument/2006/relationships/tags" Target="/ppt/tags/tag1005.xml" Id="rId59" /><Relationship Type="http://schemas.openxmlformats.org/officeDocument/2006/relationships/tags" Target="/ppt/tags/tag1049.xml" Id="rId103" /><Relationship Type="http://schemas.openxmlformats.org/officeDocument/2006/relationships/tags" Target="/ppt/tags/tag1054.xml" Id="rId108" /><Relationship Type="http://schemas.openxmlformats.org/officeDocument/2006/relationships/tags" Target="/ppt/tags/tag1000.xml" Id="rId54" /><Relationship Type="http://schemas.openxmlformats.org/officeDocument/2006/relationships/tags" Target="/ppt/tags/tag1016.xml" Id="rId70" /><Relationship Type="http://schemas.openxmlformats.org/officeDocument/2006/relationships/tags" Target="/ppt/tags/tag1021.xml" Id="rId75" /><Relationship Type="http://schemas.openxmlformats.org/officeDocument/2006/relationships/tags" Target="/ppt/tags/tag1037.xml" Id="rId91" /><Relationship Type="http://schemas.openxmlformats.org/officeDocument/2006/relationships/tags" Target="/ppt/tags/tag1042.xml" Id="rId96" /><Relationship Type="http://schemas.openxmlformats.org/officeDocument/2006/relationships/vmlDrawing" Target="/ppt/drawings/vmlDrawing207.vml" Id="rId1" /><Relationship Type="http://schemas.openxmlformats.org/officeDocument/2006/relationships/tags" Target="/ppt/tags/tag952.xml" Id="rId6" /><Relationship Type="http://schemas.openxmlformats.org/officeDocument/2006/relationships/tags" Target="/ppt/tags/tag969.xml" Id="rId23" /><Relationship Type="http://schemas.openxmlformats.org/officeDocument/2006/relationships/tags" Target="/ppt/tags/tag974.xml" Id="rId28" /><Relationship Type="http://schemas.openxmlformats.org/officeDocument/2006/relationships/tags" Target="/ppt/tags/tag995.xml" Id="rId49" /><Relationship Type="http://schemas.openxmlformats.org/officeDocument/2006/relationships/tags" Target="/ppt/tags/tag1060.xml" Id="rId114" /><Relationship Type="http://schemas.openxmlformats.org/officeDocument/2006/relationships/chart" Target="/ppt/charts/chart32.xml" Id="rId119" /><Relationship Type="http://schemas.openxmlformats.org/officeDocument/2006/relationships/tags" Target="/ppt/tags/tag990.xml" Id="rId44" /><Relationship Type="http://schemas.openxmlformats.org/officeDocument/2006/relationships/tags" Target="/ppt/tags/tag1006.xml" Id="rId60" /><Relationship Type="http://schemas.openxmlformats.org/officeDocument/2006/relationships/tags" Target="/ppt/tags/tag1011.xml" Id="rId65" /><Relationship Type="http://schemas.openxmlformats.org/officeDocument/2006/relationships/tags" Target="/ppt/tags/tag1027.xml" Id="rId81" /><Relationship Type="http://schemas.openxmlformats.org/officeDocument/2006/relationships/tags" Target="/ppt/tags/tag1032.xml" Id="rId86" /><Relationship Type="http://schemas.openxmlformats.org/officeDocument/2006/relationships/tags" Target="/ppt/tags/tag950.xml" Id="rId4" /><Relationship Type="http://schemas.openxmlformats.org/officeDocument/2006/relationships/tags" Target="/ppt/tags/tag955.xml" Id="rId9" /><Relationship Type="http://schemas.openxmlformats.org/officeDocument/2006/relationships/tags" Target="/ppt/tags/tag959.xml" Id="rId13" /><Relationship Type="http://schemas.openxmlformats.org/officeDocument/2006/relationships/tags" Target="/ppt/tags/tag964.xml" Id="rId18" /><Relationship Type="http://schemas.openxmlformats.org/officeDocument/2006/relationships/tags" Target="/ppt/tags/tag985.xml" Id="rId39" /><Relationship Type="http://schemas.openxmlformats.org/officeDocument/2006/relationships/tags" Target="/ppt/tags/tag1055.xml" Id="rId109" /><Relationship Type="http://schemas.openxmlformats.org/officeDocument/2006/relationships/tags" Target="/ppt/tags/tag980.xml" Id="rId34" /><Relationship Type="http://schemas.openxmlformats.org/officeDocument/2006/relationships/tags" Target="/ppt/tags/tag996.xml" Id="rId50" /><Relationship Type="http://schemas.openxmlformats.org/officeDocument/2006/relationships/tags" Target="/ppt/tags/tag1001.xml" Id="rId55" /><Relationship Type="http://schemas.openxmlformats.org/officeDocument/2006/relationships/tags" Target="/ppt/tags/tag1022.xml" Id="rId76" /><Relationship Type="http://schemas.openxmlformats.org/officeDocument/2006/relationships/tags" Target="/ppt/tags/tag1043.xml" Id="rId97" /><Relationship Type="http://schemas.openxmlformats.org/officeDocument/2006/relationships/tags" Target="/ppt/tags/tag1050.xml" Id="rId104" /><Relationship Type="http://schemas.openxmlformats.org/officeDocument/2006/relationships/chart" Target="/ppt/charts/chart33.xml" Id="rId120" /><Relationship Type="http://schemas.openxmlformats.org/officeDocument/2006/relationships/tags" Target="/ppt/tags/tag953.xml" Id="rId7" /><Relationship Type="http://schemas.openxmlformats.org/officeDocument/2006/relationships/tags" Target="/ppt/tags/tag1017.xml" Id="rId71" /><Relationship Type="http://schemas.openxmlformats.org/officeDocument/2006/relationships/tags" Target="/ppt/tags/tag1038.xml" Id="rId92" /><Relationship Type="http://schemas.openxmlformats.org/officeDocument/2006/relationships/tags" Target="/ppt/tags/tag948.xml" Id="rId2" /><Relationship Type="http://schemas.openxmlformats.org/officeDocument/2006/relationships/tags" Target="/ppt/tags/tag975.xml" Id="rId29" /><Relationship Type="http://schemas.openxmlformats.org/officeDocument/2006/relationships/tags" Target="/ppt/tags/tag970.xml" Id="rId24" /><Relationship Type="http://schemas.openxmlformats.org/officeDocument/2006/relationships/tags" Target="/ppt/tags/tag986.xml" Id="rId40" /><Relationship Type="http://schemas.openxmlformats.org/officeDocument/2006/relationships/tags" Target="/ppt/tags/tag991.xml" Id="rId45" /><Relationship Type="http://schemas.openxmlformats.org/officeDocument/2006/relationships/tags" Target="/ppt/tags/tag1012.xml" Id="rId66" /><Relationship Type="http://schemas.openxmlformats.org/officeDocument/2006/relationships/tags" Target="/ppt/tags/tag1033.xml" Id="rId87" /><Relationship Type="http://schemas.openxmlformats.org/officeDocument/2006/relationships/tags" Target="/ppt/tags/tag1056.xml" Id="rId110" /><Relationship Type="http://schemas.openxmlformats.org/officeDocument/2006/relationships/slideLayout" Target="/ppt/slideLayouts/slideLayout5.xml" Id="rId115" /><Relationship Type="http://schemas.openxmlformats.org/officeDocument/2006/relationships/tags" Target="/ppt/tags/tag1007.xml" Id="rId61" /><Relationship Type="http://schemas.openxmlformats.org/officeDocument/2006/relationships/tags" Target="/ppt/tags/tag1028.xml" Id="rId82" /><Relationship Type="http://schemas.openxmlformats.org/officeDocument/2006/relationships/tags" Target="/ppt/tags/tag965.xml" Id="rId19" /><Relationship Type="http://schemas.openxmlformats.org/officeDocument/2006/relationships/tags" Target="/ppt/tags/tag960.xml" Id="rId14" /><Relationship Type="http://schemas.openxmlformats.org/officeDocument/2006/relationships/tags" Target="/ppt/tags/tag976.xml" Id="rId30" /><Relationship Type="http://schemas.openxmlformats.org/officeDocument/2006/relationships/tags" Target="/ppt/tags/tag981.xml" Id="rId35" /><Relationship Type="http://schemas.openxmlformats.org/officeDocument/2006/relationships/tags" Target="/ppt/tags/tag1002.xml" Id="rId56" /><Relationship Type="http://schemas.openxmlformats.org/officeDocument/2006/relationships/tags" Target="/ppt/tags/tag1023.xml" Id="rId77" /><Relationship Type="http://schemas.openxmlformats.org/officeDocument/2006/relationships/tags" Target="/ppt/tags/tag1046.xml" Id="rId100" /><Relationship Type="http://schemas.openxmlformats.org/officeDocument/2006/relationships/tags" Target="/ppt/tags/tag1051.xml" Id="rId105" /><Relationship Type="http://schemas.openxmlformats.org/officeDocument/2006/relationships/tags" Target="/ppt/tags/tag954.xml" Id="rId8" /><Relationship Type="http://schemas.openxmlformats.org/officeDocument/2006/relationships/tags" Target="/ppt/tags/tag997.xml" Id="rId51" /><Relationship Type="http://schemas.openxmlformats.org/officeDocument/2006/relationships/tags" Target="/ppt/tags/tag1018.xml" Id="rId72" /><Relationship Type="http://schemas.openxmlformats.org/officeDocument/2006/relationships/tags" Target="/ppt/tags/tag1039.xml" Id="rId93" /><Relationship Type="http://schemas.openxmlformats.org/officeDocument/2006/relationships/tags" Target="/ppt/tags/tag1044.xml" Id="rId98" /><Relationship Type="http://schemas.openxmlformats.org/officeDocument/2006/relationships/chart" Target="/ppt/charts/chart34.xml" Id="rId121" /><Relationship Type="http://schemas.openxmlformats.org/officeDocument/2006/relationships/tags" Target="/ppt/tags/tag949.xml" Id="rId3" /><Relationship Type="http://schemas.openxmlformats.org/officeDocument/2006/relationships/tags" Target="/ppt/tags/tag971.xml" Id="rId25" /><Relationship Type="http://schemas.openxmlformats.org/officeDocument/2006/relationships/tags" Target="/ppt/tags/tag992.xml" Id="rId46" /><Relationship Type="http://schemas.openxmlformats.org/officeDocument/2006/relationships/tags" Target="/ppt/tags/tag1013.xml" Id="rId67" /><Relationship Type="http://schemas.openxmlformats.org/officeDocument/2006/relationships/notesSlide" Target="/ppt/notesSlides/notesSlide203.xml" Id="rId116" /><Relationship Type="http://schemas.openxmlformats.org/officeDocument/2006/relationships/tags" Target="/ppt/tags/tag966.xml" Id="rId20" /><Relationship Type="http://schemas.openxmlformats.org/officeDocument/2006/relationships/tags" Target="/ppt/tags/tag987.xml" Id="rId41" /><Relationship Type="http://schemas.openxmlformats.org/officeDocument/2006/relationships/tags" Target="/ppt/tags/tag1008.xml" Id="rId62" /><Relationship Type="http://schemas.openxmlformats.org/officeDocument/2006/relationships/tags" Target="/ppt/tags/tag1029.xml" Id="rId83" /><Relationship Type="http://schemas.openxmlformats.org/officeDocument/2006/relationships/tags" Target="/ppt/tags/tag1034.xml" Id="rId88" /><Relationship Type="http://schemas.openxmlformats.org/officeDocument/2006/relationships/tags" Target="/ppt/tags/tag1057.xml" Id="rId111" /><Relationship Type="http://schemas.openxmlformats.org/officeDocument/2006/relationships/tags" Target="/ppt/tags/tag961.xml" Id="rId15" /><Relationship Type="http://schemas.openxmlformats.org/officeDocument/2006/relationships/tags" Target="/ppt/tags/tag982.xml" Id="rId36" /><Relationship Type="http://schemas.openxmlformats.org/officeDocument/2006/relationships/tags" Target="/ppt/tags/tag1003.xml" Id="rId57" /><Relationship Type="http://schemas.openxmlformats.org/officeDocument/2006/relationships/tags" Target="/ppt/tags/tag1052.xml" Id="rId106" /><Relationship Type="http://schemas.openxmlformats.org/officeDocument/2006/relationships/tags" Target="/ppt/tags/tag956.xml" Id="rId10" /><Relationship Type="http://schemas.openxmlformats.org/officeDocument/2006/relationships/tags" Target="/ppt/tags/tag977.xml" Id="rId31" /><Relationship Type="http://schemas.openxmlformats.org/officeDocument/2006/relationships/tags" Target="/ppt/tags/tag998.xml" Id="rId52" /><Relationship Type="http://schemas.openxmlformats.org/officeDocument/2006/relationships/tags" Target="/ppt/tags/tag1019.xml" Id="rId73" /><Relationship Type="http://schemas.openxmlformats.org/officeDocument/2006/relationships/tags" Target="/ppt/tags/tag1024.xml" Id="rId78" /><Relationship Type="http://schemas.openxmlformats.org/officeDocument/2006/relationships/tags" Target="/ppt/tags/tag1040.xml" Id="rId94" /><Relationship Type="http://schemas.openxmlformats.org/officeDocument/2006/relationships/tags" Target="/ppt/tags/tag1045.xml" Id="rId99" /><Relationship Type="http://schemas.openxmlformats.org/officeDocument/2006/relationships/tags" Target="/ppt/tags/tag1047.xml" Id="rId101" /><Relationship Type="http://schemas.openxmlformats.org/officeDocument/2006/relationships/chart" Target="/ppt/charts/chart35.xml" Id="rId122" /></Relationships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9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7" name="think-cell 幻灯片" r:id="rId117" imgW="349" imgH="350" progId="TCLayout.ActiveDocument.1">
                  <p:embed/>
                </p:oleObj>
              </mc:Choice>
              <mc:Fallback>
                <p:oleObj name="think-cell 幻灯片" r:id="rId1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acked, 100%, clustered colum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</a:t>
            </a:r>
          </a:p>
        </p:txBody>
      </p:sp>
      <p:graphicFrame>
        <p:nvGraphicFramePr>
          <p:cNvPr id="131" name="Chart 3">
            <a:extLst>
              <a:ext uri="{FF2B5EF4-FFF2-40B4-BE49-F238E27FC236}">
                <a16:creationId xmlns:a16="http://schemas.microsoft.com/office/drawing/2014/main" id="{F6A9AB72-0100-4B83-A17A-B9DC7C2378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3088601"/>
              </p:ext>
            </p:extLst>
          </p:nvPr>
        </p:nvGraphicFramePr>
        <p:xfrm>
          <a:off x="657225" y="2197100"/>
          <a:ext cx="4314825" cy="143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9"/>
          </a:graphicData>
        </a:graphic>
      </p:graphicFrame>
      <p:sp>
        <p:nvSpPr>
          <p:cNvPr id="71" name="Rectangle 148">
            <a:extLst>
              <a:ext uri="{FF2B5EF4-FFF2-40B4-BE49-F238E27FC236}">
                <a16:creationId xmlns:a16="http://schemas.microsoft.com/office/drawing/2014/main" id="{A90A37EA-4687-00CB-E840-33ABD08AC37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8638" y="3481388"/>
            <a:ext cx="82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3BA872-A4E2-42C6-A148-44DD9587B833}" type="datetime'''''''''''''''''''''''0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3" name="Rectangle 150">
            <a:extLst>
              <a:ext uri="{FF2B5EF4-FFF2-40B4-BE49-F238E27FC236}">
                <a16:creationId xmlns:a16="http://schemas.microsoft.com/office/drawing/2014/main" id="{6043AF68-45DC-4AD2-0430-F300F89EB26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92113" y="3059113"/>
            <a:ext cx="21907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43E3BA-0EF7-4DE8-AF88-10148C973FC1}" type="datetime'''''''''''''''''''''''1''''''''''''''''''00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5" name="Rectangle 152">
            <a:extLst>
              <a:ext uri="{FF2B5EF4-FFF2-40B4-BE49-F238E27FC236}">
                <a16:creationId xmlns:a16="http://schemas.microsoft.com/office/drawing/2014/main" id="{A2C72F39-AB92-3B71-1FF5-34D242F7FEB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66713" y="2638425"/>
            <a:ext cx="24447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3B62F28-791B-413F-8E93-AEB0AEB7BD1D}" type="datetime'2''''''''''''''0''''''''''''''''0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6" name="Rectangle 154">
            <a:extLst>
              <a:ext uri="{FF2B5EF4-FFF2-40B4-BE49-F238E27FC236}">
                <a16:creationId xmlns:a16="http://schemas.microsoft.com/office/drawing/2014/main" id="{C2106EC8-4959-8048-51BF-5FC24ACB873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68300" y="2216150"/>
            <a:ext cx="242888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3C3294-ACB2-4383-8F72-D66E7A2F9484}" type="datetime'''''''''''''''''''''''''''''''3''''0''''''''''0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cxnSp>
        <p:nvCxnSpPr>
          <p:cNvPr id="77" name="Straight Connector 10">
            <a:extLst>
              <a:ext uri="{FF2B5EF4-FFF2-40B4-BE49-F238E27FC236}">
                <a16:creationId xmlns:a16="http://schemas.microsoft.com/office/drawing/2014/main" id="{8BE7C269-D530-EA38-90F8-7E9128217F7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969963" y="2232025"/>
            <a:ext cx="2767013" cy="609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53">
            <a:extLst>
              <a:ext uri="{FF2B5EF4-FFF2-40B4-BE49-F238E27FC236}">
                <a16:creationId xmlns:a16="http://schemas.microsoft.com/office/drawing/2014/main" id="{617ABA6E-EB17-4938-FE6D-A106B2B0EB5A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4197350" y="1984374"/>
            <a:ext cx="0" cy="279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54">
            <a:extLst>
              <a:ext uri="{FF2B5EF4-FFF2-40B4-BE49-F238E27FC236}">
                <a16:creationId xmlns:a16="http://schemas.microsoft.com/office/drawing/2014/main" id="{0B1B897A-26D2-F0F5-5BD7-833F8300362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4197350" y="1984375"/>
            <a:ext cx="461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55">
            <a:extLst>
              <a:ext uri="{FF2B5EF4-FFF2-40B4-BE49-F238E27FC236}">
                <a16:creationId xmlns:a16="http://schemas.microsoft.com/office/drawing/2014/main" id="{DF9A9053-833F-002F-5CD4-5A9BA9F6B1EA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4659313" y="19843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60">
            <a:extLst>
              <a:ext uri="{FF2B5EF4-FFF2-40B4-BE49-F238E27FC236}">
                <a16:creationId xmlns:a16="http://schemas.microsoft.com/office/drawing/2014/main" id="{FA473577-37A2-3271-1ED0-36C5AEB6BB3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68300" y="1962150"/>
            <a:ext cx="1084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Revenue [USD m]</a:t>
            </a:r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4" name="Rectangle 59">
            <a:extLst>
              <a:ext uri="{FF2B5EF4-FFF2-40B4-BE49-F238E27FC236}">
                <a16:creationId xmlns:a16="http://schemas.microsoft.com/office/drawing/2014/main" id="{E463092B-C7C2-2A93-C1F8-34C9F9BA9C3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15975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E88861-1F7A-4359-A12A-49FC82732009}" type="datetime'''''''''''''''''''''2''''0''''1''''''''''''''''''''6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3" name="Rectangle 60">
            <a:extLst>
              <a:ext uri="{FF2B5EF4-FFF2-40B4-BE49-F238E27FC236}">
                <a16:creationId xmlns:a16="http://schemas.microsoft.com/office/drawing/2014/main" id="{8DDA4B08-5516-F86D-E147-6868136B0BA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281113" y="3587750"/>
            <a:ext cx="2984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66B23B6-38D4-4C8C-91B8-9034BEAC06D7}" type="datetime'''''20''''''''''''''''''''''''''''''1''7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6" name="Rectangle 61">
            <a:extLst>
              <a:ext uri="{FF2B5EF4-FFF2-40B4-BE49-F238E27FC236}">
                <a16:creationId xmlns:a16="http://schemas.microsoft.com/office/drawing/2014/main" id="{D4075D21-7B1B-760B-5050-719886F7B92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736725" y="3587750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F6233E0-BA69-4E4E-8058-6CF4460007E3}" type="datetime'''''''''''''2''''''''''''01''''''''8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9" name="Rectangle 62">
            <a:extLst>
              <a:ext uri="{FF2B5EF4-FFF2-40B4-BE49-F238E27FC236}">
                <a16:creationId xmlns:a16="http://schemas.microsoft.com/office/drawing/2014/main" id="{53BD0253-DE77-457E-15B9-707C57D9B4EE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198688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350062-723C-4E73-BEFC-7048B75F07DF}" type="datetime'''''''''''''''''''''''20''''''''''''''''1''''''''9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2" name="Rectangle 127">
            <a:extLst>
              <a:ext uri="{FF2B5EF4-FFF2-40B4-BE49-F238E27FC236}">
                <a16:creationId xmlns:a16="http://schemas.microsoft.com/office/drawing/2014/main" id="{F9105CD3-84D3-5E89-5109-0943E2E9054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646363" y="3587750"/>
            <a:ext cx="3365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33C5F3-0583-4685-9F7C-378C8512AB8D}" type="datetime'''''2''''''''''''''''''0''''''''''''''''2''''''''''0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5" name="Rectangle 128">
            <a:extLst>
              <a:ext uri="{FF2B5EF4-FFF2-40B4-BE49-F238E27FC236}">
                <a16:creationId xmlns:a16="http://schemas.microsoft.com/office/drawing/2014/main" id="{DBEE824C-FDD3-57CC-DC47-2183CE3B3A93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121025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CD1590-FBE3-49BE-8B77-A2ABDE6AEFFF}" type="datetime'''2''''''''''''0''''''2''''''1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8" name="Rectangle 129">
            <a:extLst>
              <a:ext uri="{FF2B5EF4-FFF2-40B4-BE49-F238E27FC236}">
                <a16:creationId xmlns:a16="http://schemas.microsoft.com/office/drawing/2014/main" id="{3E3B2222-02DD-8C71-4799-0312BCB6625F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570288" y="3587750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949D31-28B0-4DBD-BA64-496FABDE8CB8}" type="datetime'2''0''''''''2''''''''''''''''''''''''''2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9" name="Rectangle 130">
            <a:extLst>
              <a:ext uri="{FF2B5EF4-FFF2-40B4-BE49-F238E27FC236}">
                <a16:creationId xmlns:a16="http://schemas.microsoft.com/office/drawing/2014/main" id="{EBC8653A-C070-0EC5-CB36-7CB4AE4CC1C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976688" y="3587750"/>
            <a:ext cx="4429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47AC94-5D81-4292-B724-58A4E3E31896}" type="datetime'2''0''23'' ''''''''''''''''''F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 F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0" name="Rectangle 131">
            <a:extLst>
              <a:ext uri="{FF2B5EF4-FFF2-40B4-BE49-F238E27FC236}">
                <a16:creationId xmlns:a16="http://schemas.microsoft.com/office/drawing/2014/main" id="{EB0EE9AD-9875-9A48-DD49-02A18F9E499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437062" y="3587750"/>
            <a:ext cx="4460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13CACA-51DB-4016-8EA2-5E06D65FCFB6}" type="datetime'''2''0''''''''''''''''''''2''''''''4'''''''' ''''''F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 F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5" name="Master text box">
            <a:extLst>
              <a:ext uri="{FF2B5EF4-FFF2-40B4-BE49-F238E27FC236}">
                <a16:creationId xmlns:a16="http://schemas.microsoft.com/office/drawing/2014/main" id="{9987BF0F-878A-3C24-9108-474CC13455F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20738" y="3089275"/>
            <a:ext cx="3000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5A3C6A-D9D4-44B7-8680-35A8C7D2472C}" type="datetime'''''''''''6''''''''''''''''''''''''''5''''''''.7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6" name="Master text box">
            <a:extLst>
              <a:ext uri="{FF2B5EF4-FFF2-40B4-BE49-F238E27FC236}">
                <a16:creationId xmlns:a16="http://schemas.microsoft.com/office/drawing/2014/main" id="{C806F752-22E6-F8A5-4A37-68BE337476FE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284288" y="3068638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9D2CCF-0039-4EC0-9A22-BA0DD2C07CDB}" type="datetime'''7''0''''''''''''.''''''''7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7" name="Master text box">
            <a:extLst>
              <a:ext uri="{FF2B5EF4-FFF2-40B4-BE49-F238E27FC236}">
                <a16:creationId xmlns:a16="http://schemas.microsoft.com/office/drawing/2014/main" id="{E26B7EBB-E4E8-7B76-67BF-75071595AB6C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743075" y="3054350"/>
            <a:ext cx="298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5A7BD4-3B15-4342-A048-C2370C34F6E2}" type="datetime'''''74''''.''''''''''''''''''3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4" name="Master text box">
            <a:extLst>
              <a:ext uri="{FF2B5EF4-FFF2-40B4-BE49-F238E27FC236}">
                <a16:creationId xmlns:a16="http://schemas.microsoft.com/office/drawing/2014/main" id="{3E951EB8-4388-2CDC-6E1E-5D5C963AE02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197100" y="3000375"/>
            <a:ext cx="3111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F0D8C-78A8-44A5-ABA6-59D0A46CF437}" type="datetime'''''''86''''''''''''''''''''''''''''''.''''''''''''9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9" name="Master text box">
            <a:extLst>
              <a:ext uri="{FF2B5EF4-FFF2-40B4-BE49-F238E27FC236}">
                <a16:creationId xmlns:a16="http://schemas.microsoft.com/office/drawing/2014/main" id="{0600E88C-DA7E-4C90-2C02-CD0339750AE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644776" y="2854325"/>
            <a:ext cx="3397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7F0CB4-405C-48E0-9D98-01FDED7D2B1A}" type="datetime'1''2''''''''1''''''''''''''''.''''''''8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.8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0" name="Master text box">
            <a:extLst>
              <a:ext uri="{FF2B5EF4-FFF2-40B4-BE49-F238E27FC236}">
                <a16:creationId xmlns:a16="http://schemas.microsoft.com/office/drawing/2014/main" id="{3B7513DE-7AAE-4048-D971-59620C88171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106738" y="2684463"/>
            <a:ext cx="336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EB0988-2302-461A-8C28-F3C96D3859D9}" type="datetime'16''''''1''''.''''''''''''''''''''9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.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1" name="Master text box">
            <a:extLst>
              <a:ext uri="{FF2B5EF4-FFF2-40B4-BE49-F238E27FC236}">
                <a16:creationId xmlns:a16="http://schemas.microsoft.com/office/drawing/2014/main" id="{495A9D89-4A10-163B-A0D7-B46814B4B8A3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554413" y="2479675"/>
            <a:ext cx="3667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E4060A-0419-47C9-9BE7-A41D31E6ECD5}" type="datetime'''''''2''''''''1''''''0''''''''''''''''''''''''''.4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0.4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2" name="Master text box">
            <a:extLst>
              <a:ext uri="{FF2B5EF4-FFF2-40B4-BE49-F238E27FC236}">
                <a16:creationId xmlns:a16="http://schemas.microsoft.com/office/drawing/2014/main" id="{AEEAB2D0-8D48-2688-D676-28754982885C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002088" y="2301875"/>
            <a:ext cx="3905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CDAFD3-F168-42BD-8DAC-EAA1C6CD6B45}" type="datetime'2''''''''''5''''''''''''''''2''''''''''''''''''''.5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.5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3" name="Master text box">
            <a:extLst>
              <a:ext uri="{FF2B5EF4-FFF2-40B4-BE49-F238E27FC236}">
                <a16:creationId xmlns:a16="http://schemas.microsoft.com/office/drawing/2014/main" id="{D7A49E47-0825-AA95-4ECE-0E9AA948430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468813" y="2174875"/>
            <a:ext cx="381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49A27B-31E7-4919-BBE5-291205F3E5C6}" type="datetime'2''''''''8''''''''''''''''''''''''2''.''''''7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2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5" name="Master text box">
            <a:extLst>
              <a:ext uri="{FF2B5EF4-FFF2-40B4-BE49-F238E27FC236}">
                <a16:creationId xmlns:a16="http://schemas.microsoft.com/office/drawing/2014/main" id="{48455497-331B-3CE6-BE90-1FCA3E4244F5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020888" y="2320925"/>
            <a:ext cx="663575" cy="431800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solidFill>
                  <a:schemeClr val="bg2">
                    <a:lumMod val="10000"/>
                  </a:schemeClr>
                </a:solidFill>
                <a:effectLst/>
              </a:rPr>
              <a:t>CAGR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C509B-D5BC-42B2-802F-40C3306184C1}" type="datetime'''+''''21''''.''''''''4''''''''%'''''''">
              <a:rPr lang="en-US" altLang="en-US" sz="10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1.4%</a:t>
            </a:fld>
            <a:endParaRPr lang="en-US" sz="1000" b="1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6" name="Oval 52">
            <a:extLst>
              <a:ext uri="{FF2B5EF4-FFF2-40B4-BE49-F238E27FC236}">
                <a16:creationId xmlns:a16="http://schemas.microsoft.com/office/drawing/2014/main" id="{9D9BB1EE-2914-C872-89FE-BDB5A52968C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267201" y="1876425"/>
            <a:ext cx="322263" cy="2159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8A12A6-DCB3-42B1-8342-195D361C5DAA}" type="datetime'''''1''''''''''''''''''''''''''1''''''%'''''''''''''''''">
              <a:rPr lang="en-US" altLang="en-US" sz="10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en-US" sz="1000" b="1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7" name="Rectangle 138">
            <a:extLst>
              <a:ext uri="{FF2B5EF4-FFF2-40B4-BE49-F238E27FC236}">
                <a16:creationId xmlns:a16="http://schemas.microsoft.com/office/drawing/2014/main" id="{D494A8B9-E804-0D61-4BF2-0BF52822079A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5057775" y="2273300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39">
            <a:extLst>
              <a:ext uri="{FF2B5EF4-FFF2-40B4-BE49-F238E27FC236}">
                <a16:creationId xmlns:a16="http://schemas.microsoft.com/office/drawing/2014/main" id="{E176412F-BE2A-62A4-715C-A3D3706BE59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5057775" y="2476500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40">
            <a:extLst>
              <a:ext uri="{FF2B5EF4-FFF2-40B4-BE49-F238E27FC236}">
                <a16:creationId xmlns:a16="http://schemas.microsoft.com/office/drawing/2014/main" id="{89B75BE9-54FD-4166-43A5-B81CAF5A1E0D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5057775" y="267970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Master text box">
            <a:extLst>
              <a:ext uri="{FF2B5EF4-FFF2-40B4-BE49-F238E27FC236}">
                <a16:creationId xmlns:a16="http://schemas.microsoft.com/office/drawing/2014/main" id="{28AAF951-A240-AD3B-1B0A-5D05BB19039A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5287963" y="2268538"/>
            <a:ext cx="7127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7635D7F-A228-4B15-B770-82C2AAA3B8ED}" type="datetime'''''''''''C''''''o''''mp''''''''a''''n''''''''''y'''''''' ''A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A</a:t>
            </a:fld>
            <a:endParaRPr lang="en-US" sz="1000" baseline="30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21" name="Master text box">
            <a:extLst>
              <a:ext uri="{FF2B5EF4-FFF2-40B4-BE49-F238E27FC236}">
                <a16:creationId xmlns:a16="http://schemas.microsoft.com/office/drawing/2014/main" id="{2DF1F405-C431-7AE9-A463-867026A03AD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5287963" y="2471738"/>
            <a:ext cx="711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2C93762-30EA-403A-999A-F23603A9BB50}" type="datetime'''''''''''Compa''''''''n''''''y ''''''''''''''''''B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B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22" name="Master text box">
            <a:extLst>
              <a:ext uri="{FF2B5EF4-FFF2-40B4-BE49-F238E27FC236}">
                <a16:creationId xmlns:a16="http://schemas.microsoft.com/office/drawing/2014/main" id="{CD777A4C-EA89-C0A6-90FB-6562B97B26D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5287963" y="2674938"/>
            <a:ext cx="6842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1C6067F-2457-440F-AC45-004457ECBCFA}" type="datetime'''''Year''''''''''l''''''''''''y'''' ''s''u''''''''''''m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Yearly sum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graphicFrame>
        <p:nvGraphicFramePr>
          <p:cNvPr id="132" name="Chart 3">
            <a:extLst>
              <a:ext uri="{FF2B5EF4-FFF2-40B4-BE49-F238E27FC236}">
                <a16:creationId xmlns:a16="http://schemas.microsoft.com/office/drawing/2014/main" id="{ABD32EA7-6EDA-470D-856F-50891D74F1CF}"/>
              </a:ext>
            </a:extLst>
          </p:cNvPr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148493668"/>
              </p:ext>
            </p:extLst>
          </p:nvPr>
        </p:nvGraphicFramePr>
        <p:xfrm>
          <a:off x="6110288" y="2124075"/>
          <a:ext cx="4791075" cy="1576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0"/>
          </a:graphicData>
        </a:graphic>
      </p:graphicFrame>
      <p:sp>
        <p:nvSpPr>
          <p:cNvPr id="243" name="Rectangle 160">
            <a:extLst>
              <a:ext uri="{FF2B5EF4-FFF2-40B4-BE49-F238E27FC236}">
                <a16:creationId xmlns:a16="http://schemas.microsoft.com/office/drawing/2014/main" id="{069642B6-AFC2-B4C1-5705-15D0B583B446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213475" y="1949450"/>
            <a:ext cx="1084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Revenue [USD m]</a:t>
            </a:r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46" name="Rectangle 59">
            <a:extLst>
              <a:ext uri="{FF2B5EF4-FFF2-40B4-BE49-F238E27FC236}">
                <a16:creationId xmlns:a16="http://schemas.microsoft.com/office/drawing/2014/main" id="{1417A47F-3752-8979-D22C-1CB57D2E771E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745288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783B22-F50B-4DEC-8F2C-EB64024A9C6C}" type="datetime'''''''''''2''''''''''''''''''''''''''0''''''''''''''''16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49" name="Rectangle 60">
            <a:extLst>
              <a:ext uri="{FF2B5EF4-FFF2-40B4-BE49-F238E27FC236}">
                <a16:creationId xmlns:a16="http://schemas.microsoft.com/office/drawing/2014/main" id="{A969FF12-3A3B-C73F-C4D1-1988905FB32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210425" y="3587750"/>
            <a:ext cx="2984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A8ECA8-B9C1-41E8-9C75-650C4EB64141}" type="datetime'''''''''''''''''''2''0''''''''''''''''''''17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52" name="Rectangle 61">
            <a:extLst>
              <a:ext uri="{FF2B5EF4-FFF2-40B4-BE49-F238E27FC236}">
                <a16:creationId xmlns:a16="http://schemas.microsoft.com/office/drawing/2014/main" id="{DD0D71F6-9A75-A2A9-B37D-9D8D940DDAAA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666038" y="3587750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0916B6-5E58-4A3B-9B3D-CA66081252FD}" type="datetime'''''''''''''''''''''''2''''0''''''1''''8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55" name="Rectangle 62">
            <a:extLst>
              <a:ext uri="{FF2B5EF4-FFF2-40B4-BE49-F238E27FC236}">
                <a16:creationId xmlns:a16="http://schemas.microsoft.com/office/drawing/2014/main" id="{F4814C2C-7E9C-0137-D7E6-8AF0EB813884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8128000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8E8D74-BFB0-4755-8614-F9C76CA3F81A}" type="datetime'''''2''0''1''''''9''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58" name="Rectangle 127">
            <a:extLst>
              <a:ext uri="{FF2B5EF4-FFF2-40B4-BE49-F238E27FC236}">
                <a16:creationId xmlns:a16="http://schemas.microsoft.com/office/drawing/2014/main" id="{D6F46C92-680F-E9FC-C7F9-8D258E19FCAE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8575675" y="3587750"/>
            <a:ext cx="3365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4C132B-B83B-4CB8-B9A9-D22400211797}" type="datetime'''''''2''''''''''''''''''''02''''''''''''''''''''''''''''''0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1" name="Rectangle 128">
            <a:extLst>
              <a:ext uri="{FF2B5EF4-FFF2-40B4-BE49-F238E27FC236}">
                <a16:creationId xmlns:a16="http://schemas.microsoft.com/office/drawing/2014/main" id="{E6535AFF-57B2-1BF1-6F85-F991131BF6C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9050338" y="3587750"/>
            <a:ext cx="307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638C4C-016C-4377-B52A-A911B7ED8364}" type="datetime'''''2''''''''''0''2''''''''''''''''''''''''''''''''''1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4" name="Rectangle 129">
            <a:extLst>
              <a:ext uri="{FF2B5EF4-FFF2-40B4-BE49-F238E27FC236}">
                <a16:creationId xmlns:a16="http://schemas.microsoft.com/office/drawing/2014/main" id="{7EC1485C-670B-BB95-3E6D-B90DADDA375B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499600" y="3587750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AC226E-2C67-4362-B8E7-CA58C93F9D05}" type="datetime'''''2''0''''''2''''''''''''''''''''2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5" name="Rectangle 130">
            <a:extLst>
              <a:ext uri="{FF2B5EF4-FFF2-40B4-BE49-F238E27FC236}">
                <a16:creationId xmlns:a16="http://schemas.microsoft.com/office/drawing/2014/main" id="{564E9D3F-828F-4993-8DAA-2C978003DEA2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9906000" y="3587750"/>
            <a:ext cx="4429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8D8A50-ACC7-4FA3-B82C-85A21234B820}" type="datetime'''''''''''''''''''''''''''''''''202''3'''''' ''''''''''F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 F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6" name="Rectangle 131">
            <a:extLst>
              <a:ext uri="{FF2B5EF4-FFF2-40B4-BE49-F238E27FC236}">
                <a16:creationId xmlns:a16="http://schemas.microsoft.com/office/drawing/2014/main" id="{CBA21E85-034E-EA7F-4CF1-D032BE777413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0366374" y="3587750"/>
            <a:ext cx="4460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E96111-CE0F-4F50-B2F4-0C52AA62676D}" type="datetime'''''''''''''''2''''02''''''''''4'''''''' ''''''''''F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 F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7" name="Master text box">
            <a:extLst>
              <a:ext uri="{FF2B5EF4-FFF2-40B4-BE49-F238E27FC236}">
                <a16:creationId xmlns:a16="http://schemas.microsoft.com/office/drawing/2014/main" id="{66CA4D22-5675-2BB8-1CF1-F57B66835409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750050" y="2101850"/>
            <a:ext cx="3000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FCCDB0-69AE-4931-A8ED-57EB00DD2CC7}" type="datetime'''6''''''''''''''''5''.''''''7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8" name="Master text box">
            <a:extLst>
              <a:ext uri="{FF2B5EF4-FFF2-40B4-BE49-F238E27FC236}">
                <a16:creationId xmlns:a16="http://schemas.microsoft.com/office/drawing/2014/main" id="{DEC46613-E31D-DE14-1049-17121BF56B17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213600" y="2101850"/>
            <a:ext cx="292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A29866-1998-418F-8490-60F279696533}" type="datetime'7''''''''''''''''0''.''''''7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69" name="Master text box">
            <a:extLst>
              <a:ext uri="{FF2B5EF4-FFF2-40B4-BE49-F238E27FC236}">
                <a16:creationId xmlns:a16="http://schemas.microsoft.com/office/drawing/2014/main" id="{A330C7B7-77D0-D9CC-1130-ACAF37AE73FF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672388" y="2101850"/>
            <a:ext cx="298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AC74DB-837C-49F2-89B4-FB1592100493}" type="datetime'''''''''7''''''4''''.''''3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0" name="Master text box">
            <a:extLst>
              <a:ext uri="{FF2B5EF4-FFF2-40B4-BE49-F238E27FC236}">
                <a16:creationId xmlns:a16="http://schemas.microsoft.com/office/drawing/2014/main" id="{72DDBD40-EEA5-8D88-CBDD-E17A864622DD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8126413" y="2101850"/>
            <a:ext cx="3111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C8F2B6-492E-4C00-A2D6-DDDAEFB83067}" type="datetime'''''''''''''''8''''''''6''''.9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1" name="Master text box">
            <a:extLst>
              <a:ext uri="{FF2B5EF4-FFF2-40B4-BE49-F238E27FC236}">
                <a16:creationId xmlns:a16="http://schemas.microsoft.com/office/drawing/2014/main" id="{3FFCEDE7-AF24-ACE3-B71F-7123D6985E62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8574089" y="2101850"/>
            <a:ext cx="3397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BA1462-71F8-4B3B-A5F6-665663A425AB}" type="datetime'''1''2''''''''''''''''''1''''''''''''.''''8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.8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2" name="Master text box">
            <a:extLst>
              <a:ext uri="{FF2B5EF4-FFF2-40B4-BE49-F238E27FC236}">
                <a16:creationId xmlns:a16="http://schemas.microsoft.com/office/drawing/2014/main" id="{7E6FF67A-75BF-7080-A9E1-97769E5E3039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9036050" y="2101850"/>
            <a:ext cx="336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067980-EBB0-46DE-BF6C-523B5EEE1768}" type="datetime'''''''''''''''''''''1''''61''''''''''''''.''''''9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.9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3" name="Master text box">
            <a:extLst>
              <a:ext uri="{FF2B5EF4-FFF2-40B4-BE49-F238E27FC236}">
                <a16:creationId xmlns:a16="http://schemas.microsoft.com/office/drawing/2014/main" id="{7270E142-CDF3-00F8-2717-3A080FD5FECD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9483725" y="2101850"/>
            <a:ext cx="3667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50F06-704C-4A75-8DBE-A93CC800A3EF}" type="datetime'''''2''1''''''''''''''0''''.''''''''''''''''4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0.4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4" name="Master text box">
            <a:extLst>
              <a:ext uri="{FF2B5EF4-FFF2-40B4-BE49-F238E27FC236}">
                <a16:creationId xmlns:a16="http://schemas.microsoft.com/office/drawing/2014/main" id="{459E313F-E521-F74C-091E-DB31F499FFDA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9931400" y="2101850"/>
            <a:ext cx="3905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F61FCF-BA42-4653-8CE0-52C9DEB18986}" type="datetime'''''''''''''''''''''''2''''''5''''2''''''''.''''''''''''''5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.5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5" name="Master text box">
            <a:extLst>
              <a:ext uri="{FF2B5EF4-FFF2-40B4-BE49-F238E27FC236}">
                <a16:creationId xmlns:a16="http://schemas.microsoft.com/office/drawing/2014/main" id="{42C70717-5E40-D117-05F5-BC20513B1FE9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0398125" y="2101850"/>
            <a:ext cx="381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6220F7-8332-4261-A43B-38F186E86DC4}" type="datetime'''2''82''''''''''.7''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2.7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77" name="Rectangle 138">
            <a:extLst>
              <a:ext uri="{FF2B5EF4-FFF2-40B4-BE49-F238E27FC236}">
                <a16:creationId xmlns:a16="http://schemas.microsoft.com/office/drawing/2014/main" id="{A5500A9F-FD05-299A-D677-2F601B02EF53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0879138" y="2273300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8" name="Rectangle 139">
            <a:extLst>
              <a:ext uri="{FF2B5EF4-FFF2-40B4-BE49-F238E27FC236}">
                <a16:creationId xmlns:a16="http://schemas.microsoft.com/office/drawing/2014/main" id="{2A6040F1-98EE-CB30-9742-3A788FBD8E9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879138" y="2476500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9" name="Rectangle 140">
            <a:extLst>
              <a:ext uri="{FF2B5EF4-FFF2-40B4-BE49-F238E27FC236}">
                <a16:creationId xmlns:a16="http://schemas.microsoft.com/office/drawing/2014/main" id="{753BDB06-DF1D-2923-9FE7-40576BD6D167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879138" y="267970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0" name="Master text box">
            <a:extLst>
              <a:ext uri="{FF2B5EF4-FFF2-40B4-BE49-F238E27FC236}">
                <a16:creationId xmlns:a16="http://schemas.microsoft.com/office/drawing/2014/main" id="{692ADE24-ADD6-BEBA-AF11-717BD5E19278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1109325" y="2268538"/>
            <a:ext cx="7127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F7D8383-CEF4-4590-B4E2-69387453E9F8}" type="datetime'Co''''m''''''''''p''a''n''''''''''''''y ''A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A</a:t>
            </a:fld>
            <a:endParaRPr lang="en-US" sz="1000" baseline="30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81" name="Master text box">
            <a:extLst>
              <a:ext uri="{FF2B5EF4-FFF2-40B4-BE49-F238E27FC236}">
                <a16:creationId xmlns:a16="http://schemas.microsoft.com/office/drawing/2014/main" id="{EF9DD495-3D81-AC9B-A3A3-78CF14580D7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1109325" y="2471738"/>
            <a:ext cx="711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182CB1E-FC8E-477B-9E53-1D4021474865}" type="datetime'''''''''Co''m''''''''''''pa''''''''n''y'' ''B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B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82" name="Master text box">
            <a:extLst>
              <a:ext uri="{FF2B5EF4-FFF2-40B4-BE49-F238E27FC236}">
                <a16:creationId xmlns:a16="http://schemas.microsoft.com/office/drawing/2014/main" id="{C274A558-326D-CD0D-AB08-D3939FCE884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1109325" y="2674938"/>
            <a:ext cx="6842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16D9E70-CACA-48A0-9D32-472C1FF25589}" type="datetime'Y''''''e''''a''''''''r''ly'' s''''''''''''u''''m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Yearly sum</a:t>
            </a:fld>
            <a:endParaRPr lang="en-US" sz="1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graphicFrame>
        <p:nvGraphicFramePr>
          <p:cNvPr id="133" name="Chart 3">
            <a:extLst>
              <a:ext uri="{FF2B5EF4-FFF2-40B4-BE49-F238E27FC236}">
                <a16:creationId xmlns:a16="http://schemas.microsoft.com/office/drawing/2014/main" id="{4B7E82FB-6963-4ADA-B609-5B7688C3C695}"/>
              </a:ext>
            </a:extLst>
          </p:cNvPr>
          <p:cNvGraphicFramePr/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3867443107"/>
              </p:ext>
            </p:extLst>
          </p:nvPr>
        </p:nvGraphicFramePr>
        <p:xfrm>
          <a:off x="657225" y="4541838"/>
          <a:ext cx="4314825" cy="1430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1"/>
          </a:graphicData>
        </a:graphic>
      </p:graphicFrame>
      <p:sp>
        <p:nvSpPr>
          <p:cNvPr id="318" name="Rectangle 167">
            <a:extLst>
              <a:ext uri="{FF2B5EF4-FFF2-40B4-BE49-F238E27FC236}">
                <a16:creationId xmlns:a16="http://schemas.microsoft.com/office/drawing/2014/main" id="{6D7F89DE-F48B-44F7-CC6A-3CEFFD0415FB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528638" y="5826125"/>
            <a:ext cx="82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9B5153-48B9-40D7-AD3D-296553BF2340}" type="datetime'0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4" name="Rectangle 172">
            <a:extLst>
              <a:ext uri="{FF2B5EF4-FFF2-40B4-BE49-F238E27FC236}">
                <a16:creationId xmlns:a16="http://schemas.microsoft.com/office/drawing/2014/main" id="{F8B98C2E-77EE-015C-37AB-8D63A06FD74C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474664" y="5403850"/>
            <a:ext cx="13652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DC3EBE-4246-4B6C-BE40-128C838ECF98}" type="datetime'''''''''''''''''''''''''''''''''''1''''''''0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5" name="Rectangle 177">
            <a:extLst>
              <a:ext uri="{FF2B5EF4-FFF2-40B4-BE49-F238E27FC236}">
                <a16:creationId xmlns:a16="http://schemas.microsoft.com/office/drawing/2014/main" id="{80B193B8-577E-81E3-2BD2-1F120A2A56E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449263" y="4983163"/>
            <a:ext cx="16192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BD98A3-FE31-4D36-B622-D4F9C5EED623}" type="datetime'''''''''''''''''''''''''''''''2''''0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50850" y="4548188"/>
            <a:ext cx="160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0B3485-77B0-4211-A6B4-0FA0539D3E6F}" type="datetime'''30''''''''''''''''''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29" name="Straight Connector 113">
            <a:extLst>
              <a:ext uri="{FF2B5EF4-FFF2-40B4-BE49-F238E27FC236}">
                <a16:creationId xmlns:a16="http://schemas.microsoft.com/office/drawing/2014/main" id="{52ED6DF1-7DC1-F99B-5C8D-197030CF1A3F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auto">
          <a:xfrm flipV="1">
            <a:off x="3284538" y="44973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0" name="Straight Connector 114">
            <a:extLst>
              <a:ext uri="{FF2B5EF4-FFF2-40B4-BE49-F238E27FC236}">
                <a16:creationId xmlns:a16="http://schemas.microsoft.com/office/drawing/2014/main" id="{D0DE7973-3DE3-E0E2-7032-7A97B4F70C71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auto">
          <a:xfrm>
            <a:off x="3284538" y="4497388"/>
            <a:ext cx="13827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1" name="Straight Connector 115">
            <a:extLst>
              <a:ext uri="{FF2B5EF4-FFF2-40B4-BE49-F238E27FC236}">
                <a16:creationId xmlns:a16="http://schemas.microsoft.com/office/drawing/2014/main" id="{C5E70359-0136-45BC-D7DB-06E892FD56F9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>
            <a:off x="4667250" y="4497388"/>
            <a:ext cx="0" cy="615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2" name="Rectangle 246">
            <a:extLst>
              <a:ext uri="{FF2B5EF4-FFF2-40B4-BE49-F238E27FC236}">
                <a16:creationId xmlns:a16="http://schemas.microsoft.com/office/drawing/2014/main" id="{2423073B-8662-0D21-6ED1-838A0A0D8B9A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50850" y="4294188"/>
            <a:ext cx="8794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chemeClr val="bg2">
                    <a:lumMod val="10000"/>
                  </a:schemeClr>
                </a:solidFill>
              </a:rPr>
              <a:t>User count [K]</a:t>
            </a:r>
          </a:p>
        </p:txBody>
      </p:sp>
      <p:sp>
        <p:nvSpPr>
          <p:cNvPr id="333" name="Rectangle 11">
            <a:extLst>
              <a:ext uri="{FF2B5EF4-FFF2-40B4-BE49-F238E27FC236}">
                <a16:creationId xmlns:a16="http://schemas.microsoft.com/office/drawing/2014/main" id="{8038EC13-CC22-620B-091D-C8627853758D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850899" y="5932488"/>
            <a:ext cx="4699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4D87A9-1266-465A-87EA-008E8FCDAF41}" type="datetime'''''Br''''''''''''''''''''''an''d ''''1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4" name="Rectangle 31">
            <a:extLst>
              <a:ext uri="{FF2B5EF4-FFF2-40B4-BE49-F238E27FC236}">
                <a16:creationId xmlns:a16="http://schemas.microsoft.com/office/drawing/2014/main" id="{175BBDFF-3A60-90BC-5063-854FC02ACBF4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528762" y="5932488"/>
            <a:ext cx="4953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304070-AF4C-4102-BCD0-0304002DD655}" type="datetime'''''''''''Br''''a''''''''''''''''''''n''d'''''''''''' ''''2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5" name="Rectangle 32">
            <a:extLst>
              <a:ext uri="{FF2B5EF4-FFF2-40B4-BE49-F238E27FC236}">
                <a16:creationId xmlns:a16="http://schemas.microsoft.com/office/drawing/2014/main" id="{60795D15-74C4-79B8-3ED7-ED65BD9CC122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2222500" y="5932488"/>
            <a:ext cx="4937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184550-3239-4122-A0ED-0F60ADA1694C}" type="datetime'Br''a''''''''''n''''''d'' ''3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6" name="Rectangle 341">
            <a:extLst>
              <a:ext uri="{FF2B5EF4-FFF2-40B4-BE49-F238E27FC236}">
                <a16:creationId xmlns:a16="http://schemas.microsoft.com/office/drawing/2014/main" id="{328DBD00-0741-30DB-DDA5-A518D327815D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2913062" y="5932488"/>
            <a:ext cx="4968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A868EC-4F60-4F62-8024-6BEECA702FC9}" type="datetime'''''B''''''''ra''''n''''d'''''''''''''''''''''''''''' ''4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7" name="Rectangle 35">
            <a:extLst>
              <a:ext uri="{FF2B5EF4-FFF2-40B4-BE49-F238E27FC236}">
                <a16:creationId xmlns:a16="http://schemas.microsoft.com/office/drawing/2014/main" id="{A87E7081-0D45-993F-2FE3-263847C35413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4224338" y="5932488"/>
            <a:ext cx="6381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A41B3F-A6E6-4552-B22A-74A54A156D62}" type="datetime'''''O''u''''''''''''''r'' ''''''''br''a''''''''n''''d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ur brand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8" name="Rectangle 357">
            <a:extLst>
              <a:ext uri="{FF2B5EF4-FFF2-40B4-BE49-F238E27FC236}">
                <a16:creationId xmlns:a16="http://schemas.microsoft.com/office/drawing/2014/main" id="{F45D7BDB-8AFE-E786-5080-6529964D3F43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877888" y="5070475"/>
            <a:ext cx="16827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294C95C-3ED5-4765-B86F-1D388768973E}" type="datetime'''''''''''''''''''''1''''''''''6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9" name="Rectangle 358">
            <a:extLst>
              <a:ext uri="{FF2B5EF4-FFF2-40B4-BE49-F238E27FC236}">
                <a16:creationId xmlns:a16="http://schemas.microsoft.com/office/drawing/2014/main" id="{E69787C4-511C-CF99-2D4E-791DDED6BC8A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114424" y="4738688"/>
            <a:ext cx="192088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EC8515-35DB-4AD9-9012-16DC15FCCC0E}" type="datetime'''''''2''''''''''''''''''''''''''''3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0" name="Rectangle 359">
            <a:extLst>
              <a:ext uri="{FF2B5EF4-FFF2-40B4-BE49-F238E27FC236}">
                <a16:creationId xmlns:a16="http://schemas.microsoft.com/office/drawing/2014/main" id="{0BE49A87-C6BE-BAD0-1A84-C5F04FDC22C4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1570038" y="5153025"/>
            <a:ext cx="169863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240972-9E72-4900-A3A9-F6CC5AF8C810}" type="datetime'1''''''''''''''''''''''''''''''''''4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1" name="Rectangle 360">
            <a:extLst>
              <a:ext uri="{FF2B5EF4-FFF2-40B4-BE49-F238E27FC236}">
                <a16:creationId xmlns:a16="http://schemas.microsoft.com/office/drawing/2014/main" id="{295B9AD3-4930-04CE-FD0A-76980EFC090B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1816100" y="5118100"/>
            <a:ext cx="169863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24EFBA-FFD9-4C86-9E4F-9DABBFD74F6B}" type="datetime'''''''''''''''''''''''''''''''''1''''''4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2" name="Rectangle 361">
            <a:extLst>
              <a:ext uri="{FF2B5EF4-FFF2-40B4-BE49-F238E27FC236}">
                <a16:creationId xmlns:a16="http://schemas.microsoft.com/office/drawing/2014/main" id="{4D63D3F6-E8DD-F892-9BFA-485DD4FDCACE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2260600" y="5213350"/>
            <a:ext cx="16827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8409B1-92BA-44BE-BD72-D929B05A0D9F}" type="datetime'''''''''1''''''''''''''''''''''''''''''''''''''''''''''''2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7" name="Rectangle 363">
            <a:extLst>
              <a:ext uri="{FF2B5EF4-FFF2-40B4-BE49-F238E27FC236}">
                <a16:creationId xmlns:a16="http://schemas.microsoft.com/office/drawing/2014/main" id="{FE435621-9536-116E-8E69-11519CD9799A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2513013" y="4997450"/>
            <a:ext cx="1587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085599-737F-48B9-A177-E443719ED9C0}" type="datetime'''''''17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3" name="Rectangle 364">
            <a:extLst>
              <a:ext uri="{FF2B5EF4-FFF2-40B4-BE49-F238E27FC236}">
                <a16:creationId xmlns:a16="http://schemas.microsoft.com/office/drawing/2014/main" id="{A4E73F7A-AC1F-69AD-9A94-762638C2237F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2952750" y="5086350"/>
            <a:ext cx="169863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733177-BA57-4540-BAA4-28C837E3814B}" type="datetime'''''1''''5''''''''''''''''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4" name="Rectangle 365">
            <a:extLst>
              <a:ext uri="{FF2B5EF4-FFF2-40B4-BE49-F238E27FC236}">
                <a16:creationId xmlns:a16="http://schemas.microsoft.com/office/drawing/2014/main" id="{853B6405-3588-F55F-86FB-448B85FCBA2A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3187700" y="4611688"/>
            <a:ext cx="193675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4A4F75-AF20-4868-98C3-5B4CD3618179}" type="datetime'''''2''''''''''''''''''''''''''''''''''''''6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5" name="Rectangle 366">
            <a:extLst>
              <a:ext uri="{FF2B5EF4-FFF2-40B4-BE49-F238E27FC236}">
                <a16:creationId xmlns:a16="http://schemas.microsoft.com/office/drawing/2014/main" id="{1C69B858-A132-97CA-BDC1-35214252143A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4362449" y="5362575"/>
            <a:ext cx="1143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59ACDA-52CD-4240-9C0B-B61EDB7B3D8E}" type="datetime'''''''''''''9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6" name="Rectangle 367">
            <a:extLst>
              <a:ext uri="{FF2B5EF4-FFF2-40B4-BE49-F238E27FC236}">
                <a16:creationId xmlns:a16="http://schemas.microsoft.com/office/drawing/2014/main" id="{E5758AB4-A302-07FD-F6F6-C903820CAD6E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4583113" y="5151438"/>
            <a:ext cx="169863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8E9311-F11D-49B9-A718-8EA1E4E8CDF2}" type="datetime'''''''''''''''''1''''''''''4''''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5CECC4D7-E43E-C817-7593-4FBD01B8FA7E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3738563" y="4389438"/>
            <a:ext cx="474663" cy="2159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87E2D3-27DE-481A-89CE-204D1B1D995B}" type="datetime'''''''''''''-''''''4''''''''''''''''''''''''8''''''%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48%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9" name="Rectangle 19">
            <a:extLst>
              <a:ext uri="{FF2B5EF4-FFF2-40B4-BE49-F238E27FC236}">
                <a16:creationId xmlns:a16="http://schemas.microsoft.com/office/drawing/2014/main" id="{FE97FCE0-78B5-53A2-DD1F-EC3575663BE9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057775" y="4413250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0" name="Rectangle 22">
            <a:extLst>
              <a:ext uri="{FF2B5EF4-FFF2-40B4-BE49-F238E27FC236}">
                <a16:creationId xmlns:a16="http://schemas.microsoft.com/office/drawing/2014/main" id="{1E0B42E8-2C7C-926B-84EC-DEB4B0C51B36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057775" y="4616450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1" name="Rectangle 2">
            <a:extLst>
              <a:ext uri="{FF2B5EF4-FFF2-40B4-BE49-F238E27FC236}">
                <a16:creationId xmlns:a16="http://schemas.microsoft.com/office/drawing/2014/main" id="{9BED501F-B482-5E59-0F23-00C590CA4671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287962" y="4408488"/>
            <a:ext cx="4000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4B7D296-FB12-4782-BBDA-1CAA104807F7}" type="datetime'Onl''''''''''''''''''''''''''i''''''''''''''''''''''ne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Online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2" name="Rectangle 10">
            <a:extLst>
              <a:ext uri="{FF2B5EF4-FFF2-40B4-BE49-F238E27FC236}">
                <a16:creationId xmlns:a16="http://schemas.microsoft.com/office/drawing/2014/main" id="{A8E5DE83-D547-8CEB-C6C8-B88F1291429E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5287962" y="46116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771C466-1B1F-4658-88A3-6F07C589A4C8}" type="datetime'''O''f''fl''''i''''''''''''''''''n''''''''''''''''''e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Offline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140" name="Chart 3">
            <a:extLst>
              <a:ext uri="{FF2B5EF4-FFF2-40B4-BE49-F238E27FC236}">
                <a16:creationId xmlns:a16="http://schemas.microsoft.com/office/drawing/2014/main" id="{C01BEC9B-F5C2-4955-8361-8BFB9A7C51EC}"/>
              </a:ext>
            </a:extLst>
          </p:cNvPr>
          <p:cNvGraphicFramePr/>
          <p:nvPr>
            <p:custDataLst>
              <p:tags r:id="rId94"/>
            </p:custDataLst>
            <p:extLst>
              <p:ext uri="{D42A27DB-BD31-4B8C-83A1-F6EECF244321}">
                <p14:modId xmlns:p14="http://schemas.microsoft.com/office/powerpoint/2010/main" val="269666588"/>
              </p:ext>
            </p:extLst>
          </p:nvPr>
        </p:nvGraphicFramePr>
        <p:xfrm>
          <a:off x="6189663" y="4468813"/>
          <a:ext cx="4762500" cy="1576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2"/>
          </a:graphicData>
        </a:graphic>
      </p:graphicFrame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08F4A9D6-AD17-4777-8EEF-64A9A89DF11F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9732963" y="4711700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 useBgFill="1">
        <p:nvSpPr>
          <p:cNvPr id="15" name="任意多边形: 形状 14">
            <a:extLst>
              <a:ext uri="{FF2B5EF4-FFF2-40B4-BE49-F238E27FC236}">
                <a16:creationId xmlns:a16="http://schemas.microsoft.com/office/drawing/2014/main" id="{D6626D4F-601E-4373-8A79-0197562BADC7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9725025" y="58166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AFC19C79-FCEA-4784-898F-95C4F5108600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9732963" y="471170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F8E81D47-EF64-4BCA-8095-9117686E451D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9790113" y="471170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195E3649-6EC4-49B7-AEC1-99FA2543359F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9725025" y="58166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9CD48C19-0F86-4928-8EC3-88DD4A2A1D59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9782175" y="58166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88B01BC7-BACC-06BD-1DF8-8CF9CD8DAAB2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6292849" y="4294188"/>
            <a:ext cx="528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Revenue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E07BDED1-06A0-5A9C-B6E5-48945B1FE771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10242550" y="4294188"/>
            <a:ext cx="606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2">
                    <a:lumMod val="10000"/>
                  </a:schemeClr>
                </a:solidFill>
                <a:effectLst/>
              </a:rPr>
              <a:t>Units sold</a:t>
            </a:r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B8791EA3-3C69-DDB5-FB2A-D68BA6E229F2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6740525" y="5932488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903B8F-28DA-4ABD-B467-3E9FD53673B2}" type="datetime'''''''''''''''''''''''20''''2''4''''''''''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06E76424-B192-189F-B637-9810EDE1899F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7218363" y="5932488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B8FE84-3B3A-457C-ACA3-058059EBF2A3}" type="datetime'''''''''''''''''''2''''''0''2''''''''5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F6DB822-1542-6987-815E-9269F747AC00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96200" y="5932488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2576EA-984C-456E-B2DA-28A2181E685B}" type="datetime'''''''''''''''''''''''''''''''''2''0''''2''''''''''6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838137EC-45B9-E746-FAA2-54EF1C6007D9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8178800" y="5932488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1EB14-BA25-46AB-B84D-CAC4FF4A0F57}" type="datetime'''2''''''''''''''0''''''''''''2''''''''''7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7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1" name="Text Placeholder 2">
            <a:extLst>
              <a:ext uri="{FF2B5EF4-FFF2-40B4-BE49-F238E27FC236}">
                <a16:creationId xmlns:a16="http://schemas.microsoft.com/office/drawing/2014/main" id="{B2B8F63A-7114-B0BA-2612-443A2E4129D2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8648700" y="5932488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50B763-1584-4C1A-91D3-FAC6FB74384C}" type="datetime'''''''''''2''''''''''0''''''2''''''8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45E6953A-4E93-2984-0234-8E33012D5107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128125" y="5932488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FCEA06-64A3-45B1-ADC1-2B227C5D76B4}" type="datetime'''''''''''''''''''''''''''20''''''2''''''''''''''9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9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B4725574-E2C7-3A7E-0AAB-D8E791F51010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10083800" y="5932488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4607E7-F753-4D1B-B87A-04F24BEF29C3}" type="datetime'''''''''''''2''0''''''''3''''''''''''''''''''''''''''''5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/>
              <a:t>2035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E8EC4944-90F9-294A-5C67-0B9E38ADB268}"/>
              </a:ext>
            </a:extLst>
          </p:cNvPr>
          <p:cNvCxnSpPr>
            <a:cxnSpLocks/>
          </p:cNvCxnSpPr>
          <p:nvPr>
            <p:custDataLst>
              <p:tags r:id="rId110"/>
            </p:custDataLst>
          </p:nvPr>
        </p:nvCxnSpPr>
        <p:spPr bwMode="gray">
          <a:xfrm>
            <a:off x="10906125" y="4479925"/>
            <a:ext cx="2333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5" name="Rectangle 414">
            <a:extLst>
              <a:ext uri="{FF2B5EF4-FFF2-40B4-BE49-F238E27FC236}">
                <a16:creationId xmlns:a16="http://schemas.microsoft.com/office/drawing/2014/main" id="{4445C43F-67AB-5BEA-B9D9-C8FD86AE1B57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10969625" y="461645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6" name="Oval 415">
            <a:extLst>
              <a:ext uri="{FF2B5EF4-FFF2-40B4-BE49-F238E27FC236}">
                <a16:creationId xmlns:a16="http://schemas.microsoft.com/office/drawing/2014/main" id="{23BD9F95-45A4-6CCF-05DD-E5103647C3B8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10990263" y="4448175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7" name="Rectangle 27">
            <a:extLst>
              <a:ext uri="{FF2B5EF4-FFF2-40B4-BE49-F238E27FC236}">
                <a16:creationId xmlns:a16="http://schemas.microsoft.com/office/drawing/2014/main" id="{540C2801-5285-77C9-5ADE-332B3EE589D6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11199813" y="4408488"/>
            <a:ext cx="606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5E98D19-BA1A-47F6-BBF8-DA348604DC3F}" type="datetime'U''''n''''''''''''i''''''t''''''s ''s''o''''l''''d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Units sold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8" name="Rectangle 27">
            <a:extLst>
              <a:ext uri="{FF2B5EF4-FFF2-40B4-BE49-F238E27FC236}">
                <a16:creationId xmlns:a16="http://schemas.microsoft.com/office/drawing/2014/main" id="{5F56D940-0F46-B7F5-F7AA-3E0CC14154DB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11199812" y="4611688"/>
            <a:ext cx="528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EE94C8-F64F-437A-9ED1-04DDA3996687}" type="datetime'''''''''''''''''''''''R''e''''v''''''en''''''''u''e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377" name="tc_columnheader">
            <a:extLst>
              <a:ext uri="{FF2B5EF4-FFF2-40B4-BE49-F238E27FC236}">
                <a16:creationId xmlns:a16="http://schemas.microsoft.com/office/drawing/2014/main" id="{7685BAF7-F438-EEBF-8767-94027E466EA9}"/>
              </a:ext>
            </a:extLst>
          </p:cNvPr>
          <p:cNvGrpSpPr/>
          <p:nvPr/>
        </p:nvGrpSpPr>
        <p:grpSpPr>
          <a:xfrm>
            <a:off x="407987" y="1557338"/>
            <a:ext cx="5604598" cy="251795"/>
            <a:chOff x="407988" y="1557338"/>
            <a:chExt cx="5576400" cy="251795"/>
          </a:xfrm>
        </p:grpSpPr>
        <p:sp>
          <p:nvSpPr>
            <p:cNvPr id="378" name="tc_columnhead">
              <a:extLst>
                <a:ext uri="{FF2B5EF4-FFF2-40B4-BE49-F238E27FC236}">
                  <a16:creationId xmlns:a16="http://schemas.microsoft.com/office/drawing/2014/main" id="{E9F39C6C-F637-0044-A903-67181B921DBF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Stacked column</a:t>
              </a:r>
            </a:p>
          </p:txBody>
        </p:sp>
        <p:cxnSp>
          <p:nvCxnSpPr>
            <p:cNvPr id="379" name="tc_columnheadline">
              <a:extLst>
                <a:ext uri="{FF2B5EF4-FFF2-40B4-BE49-F238E27FC236}">
                  <a16:creationId xmlns:a16="http://schemas.microsoft.com/office/drawing/2014/main" id="{99CF2DCD-9571-0A3B-162F-D170F238C109}"/>
                </a:ext>
              </a:extLst>
            </p:cNvPr>
            <p:cNvCxnSpPr>
              <a:cxnSpLocks/>
              <a:stCxn id="378" idx="4"/>
              <a:endCxn id="37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7" name="tc_columnheader">
            <a:extLst>
              <a:ext uri="{FF2B5EF4-FFF2-40B4-BE49-F238E27FC236}">
                <a16:creationId xmlns:a16="http://schemas.microsoft.com/office/drawing/2014/main" id="{63549AF3-3F4F-5D69-268A-E34B8855494F}"/>
              </a:ext>
            </a:extLst>
          </p:cNvPr>
          <p:cNvGrpSpPr/>
          <p:nvPr/>
        </p:nvGrpSpPr>
        <p:grpSpPr>
          <a:xfrm>
            <a:off x="407988" y="3869489"/>
            <a:ext cx="5604598" cy="251795"/>
            <a:chOff x="407988" y="1557338"/>
            <a:chExt cx="5576400" cy="251795"/>
          </a:xfrm>
        </p:grpSpPr>
        <p:sp>
          <p:nvSpPr>
            <p:cNvPr id="388" name="tc_columnhead">
              <a:extLst>
                <a:ext uri="{FF2B5EF4-FFF2-40B4-BE49-F238E27FC236}">
                  <a16:creationId xmlns:a16="http://schemas.microsoft.com/office/drawing/2014/main" id="{C34DF783-F42F-0EFA-0746-D58E58FA872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Clustered column</a:t>
              </a:r>
            </a:p>
          </p:txBody>
        </p:sp>
        <p:cxnSp>
          <p:nvCxnSpPr>
            <p:cNvPr id="389" name="tc_columnheadline">
              <a:extLst>
                <a:ext uri="{FF2B5EF4-FFF2-40B4-BE49-F238E27FC236}">
                  <a16:creationId xmlns:a16="http://schemas.microsoft.com/office/drawing/2014/main" id="{6D20E02F-0C76-6C9D-514B-484F8490829D}"/>
                </a:ext>
              </a:extLst>
            </p:cNvPr>
            <p:cNvCxnSpPr>
              <a:cxnSpLocks/>
              <a:stCxn id="388" idx="4"/>
              <a:endCxn id="38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6" name="tc_columnheader">
            <a:extLst>
              <a:ext uri="{FF2B5EF4-FFF2-40B4-BE49-F238E27FC236}">
                <a16:creationId xmlns:a16="http://schemas.microsoft.com/office/drawing/2014/main" id="{D3B919DC-D678-5BC3-7B01-6A023186ED76}"/>
              </a:ext>
            </a:extLst>
          </p:cNvPr>
          <p:cNvGrpSpPr/>
          <p:nvPr/>
        </p:nvGrpSpPr>
        <p:grpSpPr>
          <a:xfrm>
            <a:off x="6215927" y="1557337"/>
            <a:ext cx="5604598" cy="251795"/>
            <a:chOff x="407988" y="1557338"/>
            <a:chExt cx="5576400" cy="251795"/>
          </a:xfrm>
        </p:grpSpPr>
        <p:sp>
          <p:nvSpPr>
            <p:cNvPr id="397" name="tc_columnhead">
              <a:extLst>
                <a:ext uri="{FF2B5EF4-FFF2-40B4-BE49-F238E27FC236}">
                  <a16:creationId xmlns:a16="http://schemas.microsoft.com/office/drawing/2014/main" id="{ADB3B175-3573-4EF7-F1E4-CB7C9CBF0D5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100% column</a:t>
              </a:r>
            </a:p>
          </p:txBody>
        </p:sp>
        <p:cxnSp>
          <p:nvCxnSpPr>
            <p:cNvPr id="398" name="tc_columnheadline">
              <a:extLst>
                <a:ext uri="{FF2B5EF4-FFF2-40B4-BE49-F238E27FC236}">
                  <a16:creationId xmlns:a16="http://schemas.microsoft.com/office/drawing/2014/main" id="{8D0710A6-D817-03AF-9889-2BEFB8AB1EFA}"/>
                </a:ext>
              </a:extLst>
            </p:cNvPr>
            <p:cNvCxnSpPr>
              <a:cxnSpLocks/>
              <a:stCxn id="397" idx="4"/>
              <a:endCxn id="39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9" name="tc_columnheader">
            <a:extLst>
              <a:ext uri="{FF2B5EF4-FFF2-40B4-BE49-F238E27FC236}">
                <a16:creationId xmlns:a16="http://schemas.microsoft.com/office/drawing/2014/main" id="{7F6F6070-767F-7090-DE7F-D5E996D3BAAD}"/>
              </a:ext>
            </a:extLst>
          </p:cNvPr>
          <p:cNvGrpSpPr/>
          <p:nvPr/>
        </p:nvGrpSpPr>
        <p:grpSpPr>
          <a:xfrm>
            <a:off x="6215927" y="3869489"/>
            <a:ext cx="5604598" cy="251795"/>
            <a:chOff x="407988" y="1557338"/>
            <a:chExt cx="5576400" cy="251795"/>
          </a:xfrm>
        </p:grpSpPr>
        <p:sp>
          <p:nvSpPr>
            <p:cNvPr id="440" name="tc_columnhead">
              <a:extLst>
                <a:ext uri="{FF2B5EF4-FFF2-40B4-BE49-F238E27FC236}">
                  <a16:creationId xmlns:a16="http://schemas.microsoft.com/office/drawing/2014/main" id="{98D33CAD-3809-6FA2-E47A-299485FD271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>
                  <a:solidFill>
                    <a:schemeClr val="tx1"/>
                  </a:solidFill>
                </a:rPr>
                <a:t>Combination</a:t>
              </a:r>
            </a:p>
          </p:txBody>
        </p:sp>
        <p:cxnSp>
          <p:nvCxnSpPr>
            <p:cNvPr id="441" name="tc_columnheadline">
              <a:extLst>
                <a:ext uri="{FF2B5EF4-FFF2-40B4-BE49-F238E27FC236}">
                  <a16:creationId xmlns:a16="http://schemas.microsoft.com/office/drawing/2014/main" id="{BE4A506C-49B5-28D8-A1DE-ABC949B0AF71}"/>
                </a:ext>
              </a:extLst>
            </p:cNvPr>
            <p:cNvCxnSpPr>
              <a:cxnSpLocks/>
              <a:stCxn id="440" idx="4"/>
              <a:endCxn id="44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18">
            <a:extLst>
              <a:ext uri="{FF2B5EF4-FFF2-40B4-BE49-F238E27FC236}">
                <a16:creationId xmlns:a16="http://schemas.microsoft.com/office/drawing/2014/main" id="{8867BEDE-F15B-D45C-279F-78B6E1239800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9549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orAHyZEmPLbR7vgNnpd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sNc8SgkFzN3MMqnUWWz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VnH0o.rNdbh3VlJiG6E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m.rfGnPdYrDf8DVD1R2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8dZKbc43hlZZ03V_bgd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qe9KCDALCA2mPTlnJP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i1aO.xS7i.fYldvUpN1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G.puLBhorsZFEKZHTf.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ciI.5Z3ByTuZp_KYgq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XBjQdXSojdOyWYtRn51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PvzcS0kwWZXnl7or9zX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WG0nIGxOfXlweq4GsD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Mt.Xxg9PGNQuRqqQuYe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AmCu75mZdNzN0Euzn2R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MJlBuuSuSazr2dleNn2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NKV3STXq26D6z6FzzEg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5fcaxNrkghFMaFdsp0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sj_hJXrfBrbvUtx1_A2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C6_BjPihuPzMBijP3vm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7rWcnYoAKnhP6G3_6sc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_uOdz_pR6dbbB_t4Wu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281bt8tQilxTJVWqXfK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B.tPG3_mbKLZOiqRriy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DtQvmnWAiw_p_WunJEQ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KrIt5VX3IoRtAEhwWmfA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cQ33qOTDyD4wbY3htRG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zk.nuw1A8KxxMzJFDwq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G3Zlw5hmqwfUQ0B2HK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f7zALIBZgT_zbAcMMHqw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NZe6vhov8JGC7ebSM3p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Z_sqoSeXYDOOXcUzqY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f6GHBHA_7nHRGy5BSpS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18FMo6WoWvU7oSH7Eu7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loRo9IHzrxUj2PmnH4e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58bD2CYm6rDwdv779E.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IlS3WnMLPmF0nlFOafS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oPF0hHD.o7lTTlMkmXI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8ysFjvXdTC0NOLMUxgw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0PHIDxBMzmiwI8i39oR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xLtWwcVNl5zQqEYeVrV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TdDlunZb0qbOV_cunbV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LZr02KKyroGxixGBYl3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YHTSMLfr_2vJZcC2ri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XR.7qQBlDTxnryfXQZo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wWidAPD_m7XZXoyd0eG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dB9uU9NUccL9V3NZcz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pJZLvzVFUdDhD1ca2Xf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pTlVj9.bQcEkhHZxJ8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UV9_hKHtzUEkDXvn29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Far2Hss9lCgW7gKE2Y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5jRSBsMA7n1GGFVx6DR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sXwo1JLPawT47RjVQS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LeTEU37_261Srq_Qqn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4FCWGO4d49hsU7dUBx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XpSTuQa7Ti5vv_r67H6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TiY14ah2ho5A5b1v0d8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AR9H0CqWFecRdmldW1C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YTTIhG_IeTHEOeQgOOJ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z6uBEAYwhW46nzy0DY8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mjL_85oP829n9HowEay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eCD1XIHp3MbkXZOBj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C_KrGCEYhgpyjssnsAAw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YjuGeTgU5IaTU_7Srt_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ry88uHSwIyl1LpG0RKw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IOXbCueN3OwwhIADtKs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8ej_zTl50r_tu5GIaYb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0GDErbAINBKA9pScxMA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Hfo8lpsFOnSExU_2kwJ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76cFrMNzYwWTYy_AIi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yZbxIfa79KaEqJ26AA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vBYtazHGftMZNrruI1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iyZDKit0B5nNSa5VN_5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OKeTd7yCywPMV5unQ3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Z_Dgvz6eGnqZ.V8BHj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AJEQiHkVv2N3eLD6z6ZA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DG1yleSJfQuaIn5vSQ5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PMeXYxDE1uT1UdQsRB9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k7OcToImYifUN74IsK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1G3wV_7HMlEHE78rBBx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o3Mmayt3CohLbZRTn2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IEac6TGSMIP6PbdyJ3Z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h2.O9in6Pm9sepEGheF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y.FeZwLWldc9UyMUefW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ooPzJuDHmAdRN34KFLuw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pEns4a3khycrO2nSxnG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0ui3sbY.mFUFfFxuUKd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7EGaQPrz1UFl8Iqjbbs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hJi42X0Tzx7zysZG07Z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i.ntwVHrj_lcqq577i5Q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X34oBgVq3srUkLJE2D.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VSOaV_b7G01pdiU8MX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1ut.7ML8GGT8pubM6d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y.KHluszbk50WotbvUr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tdIa_FcgrxgkSfFaUM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oJ8P4pnDTkAp9X3QZCR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AgVsJeQdoxzJFr6kOqL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XVfSktCEiYVg43ngnqj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bbXcJMRRg6Ax4P3hXI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kSS283hJ4KHrglMQ94e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Jo26r9bh.w2ttiLY.ND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6eTOfHei__bceUEgaXt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xhIqZ8UBwph6G_ZuF2e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W7JXuVDkBjtI79wWjim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UK2kxnJ.cmn5P_b._d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N13uKdQ7s1UX1yLpCjP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JprbjGLwlIR8V0u.Oo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wHO5yqOAJ8Qa5rH2K6b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z1lwzzCd6Jbc3H_4dj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teTz7Oesa6rAGzL1QN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c49Jy1ybLsSwko5elvD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d08b9WPtbmWWhJ_ek53g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GwX_WxN7Nz_c__fXqs7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